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heme/theme2.xml" ContentType="application/vnd.openxmlformats-officedocument.them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notesSlides/notesSlide1.xml" ContentType="application/vnd.openxmlformats-officedocument.presentationml.notesSlide+xml"/>
  <Override PartName="/ppt/tags/tag17.xml" ContentType="application/vnd.openxmlformats-officedocument.presentationml.tags+xml"/>
  <Override PartName="/ppt/notesSlides/notesSlide2.xml" ContentType="application/vnd.openxmlformats-officedocument.presentationml.notesSlide+xml"/>
  <Override PartName="/ppt/tags/tag18.xml" ContentType="application/vnd.openxmlformats-officedocument.presentationml.tags+xml"/>
  <Override PartName="/ppt/notesSlides/notesSlide3.xml" ContentType="application/vnd.openxmlformats-officedocument.presentationml.notesSlide+xml"/>
  <Override PartName="/ppt/tags/tag19.xml" ContentType="application/vnd.openxmlformats-officedocument.presentationml.tags+xml"/>
  <Override PartName="/ppt/notesSlides/notesSlide4.xml" ContentType="application/vnd.openxmlformats-officedocument.presentationml.notesSlid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notesSlides/notesSlide5.xml" ContentType="application/vnd.openxmlformats-officedocument.presentationml.notesSlide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notesSlides/notesSlide6.xml" ContentType="application/vnd.openxmlformats-officedocument.presentationml.notesSlide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notesSlides/notesSlide7.xml" ContentType="application/vnd.openxmlformats-officedocument.presentationml.notesSlide+xml"/>
  <Override PartName="/ppt/tags/tag28.xml" ContentType="application/vnd.openxmlformats-officedocument.presentationml.tags+xml"/>
  <Override PartName="/ppt/notesSlides/notesSlide8.xml" ContentType="application/vnd.openxmlformats-officedocument.presentationml.notesSlide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autoCompressPictures="0">
  <p:sldMasterIdLst>
    <p:sldMasterId id="2147483696" r:id="rId1"/>
  </p:sldMasterIdLst>
  <p:notesMasterIdLst>
    <p:notesMasterId r:id="rId19"/>
  </p:notesMasterIdLst>
  <p:sldIdLst>
    <p:sldId id="284" r:id="rId2"/>
    <p:sldId id="267" r:id="rId3"/>
    <p:sldId id="330" r:id="rId4"/>
    <p:sldId id="298" r:id="rId5"/>
    <p:sldId id="288" r:id="rId6"/>
    <p:sldId id="326" r:id="rId7"/>
    <p:sldId id="331" r:id="rId8"/>
    <p:sldId id="327" r:id="rId9"/>
    <p:sldId id="332" r:id="rId10"/>
    <p:sldId id="328" r:id="rId11"/>
    <p:sldId id="333" r:id="rId12"/>
    <p:sldId id="334" r:id="rId13"/>
    <p:sldId id="335" r:id="rId14"/>
    <p:sldId id="336" r:id="rId15"/>
    <p:sldId id="283" r:id="rId16"/>
    <p:sldId id="303" r:id="rId17"/>
    <p:sldId id="325" r:id="rId18"/>
  </p:sldIdLst>
  <p:sldSz cx="12192000" cy="6858000"/>
  <p:notesSz cx="6858000" cy="9144000"/>
  <p:custDataLst>
    <p:tags r:id="rId20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" id="{7A3085B2-F48F-4966-B5CA-39C2D82AAB79}">
          <p14:sldIdLst>
            <p14:sldId id="284"/>
            <p14:sldId id="267"/>
            <p14:sldId id="330"/>
            <p14:sldId id="298"/>
            <p14:sldId id="288"/>
            <p14:sldId id="326"/>
            <p14:sldId id="331"/>
            <p14:sldId id="327"/>
            <p14:sldId id="332"/>
            <p14:sldId id="328"/>
            <p14:sldId id="333"/>
            <p14:sldId id="334"/>
            <p14:sldId id="335"/>
            <p14:sldId id="336"/>
            <p14:sldId id="283"/>
          </p14:sldIdLst>
        </p14:section>
        <p14:section name="Appendix" id="{156EC5E9-0750-4A18-A9C6-E8FBDFA1833E}">
          <p14:sldIdLst>
            <p14:sldId id="303"/>
            <p14:sldId id="325"/>
          </p14:sldIdLst>
        </p14:section>
        <p14:section name="Bin" id="{DDC21AEC-F384-4469-B647-3145B35B17A8}">
          <p14:sldIdLst/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4B23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DA87B775-73F3-46B2-BEC4-E05BB644B856}" v="95" dt="2019-12-05T15:14:53.086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000" autoAdjust="0"/>
    <p:restoredTop sz="96327"/>
  </p:normalViewPr>
  <p:slideViewPr>
    <p:cSldViewPr snapToGrid="0" snapToObjects="1">
      <p:cViewPr varScale="1">
        <p:scale>
          <a:sx n="95" d="100"/>
          <a:sy n="95" d="100"/>
        </p:scale>
        <p:origin x="760" y="16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microsoft.com/office/2015/10/relationships/revisionInfo" Target="revisionInfo.xml"/><Relationship Id="rId3" Type="http://schemas.openxmlformats.org/officeDocument/2006/relationships/slide" Target="slides/slide2.xml"/><Relationship Id="rId21" Type="http://schemas.openxmlformats.org/officeDocument/2006/relationships/presProps" Target="pres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microsoft.com/office/2016/11/relationships/changesInfo" Target="changesInfos/changesInfo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tags" Target="tags/tag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viewProps" Target="view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Radtke, Jonas" userId="1f1096ce-6e00-4466-9867-a4bdba3d9a1b" providerId="ADAL" clId="{DA87B775-73F3-46B2-BEC4-E05BB644B856}"/>
    <pc:docChg chg="custSel addSld delSld modSld sldOrd modSection">
      <pc:chgData name="Radtke, Jonas" userId="1f1096ce-6e00-4466-9867-a4bdba3d9a1b" providerId="ADAL" clId="{DA87B775-73F3-46B2-BEC4-E05BB644B856}" dt="2019-12-05T15:20:44.063" v="1044" actId="108"/>
      <pc:docMkLst>
        <pc:docMk/>
      </pc:docMkLst>
      <pc:sldChg chg="modSp">
        <pc:chgData name="Radtke, Jonas" userId="1f1096ce-6e00-4466-9867-a4bdba3d9a1b" providerId="ADAL" clId="{DA87B775-73F3-46B2-BEC4-E05BB644B856}" dt="2019-12-05T14:17:58.529" v="320" actId="20577"/>
        <pc:sldMkLst>
          <pc:docMk/>
          <pc:sldMk cId="4154595813" sldId="267"/>
        </pc:sldMkLst>
        <pc:spChg chg="mod">
          <ac:chgData name="Radtke, Jonas" userId="1f1096ce-6e00-4466-9867-a4bdba3d9a1b" providerId="ADAL" clId="{DA87B775-73F3-46B2-BEC4-E05BB644B856}" dt="2019-12-05T14:17:58.529" v="320" actId="20577"/>
          <ac:spMkLst>
            <pc:docMk/>
            <pc:sldMk cId="4154595813" sldId="267"/>
            <ac:spMk id="5" creationId="{8509EEA2-55D0-426F-B0FC-F77471B0BBD9}"/>
          </ac:spMkLst>
        </pc:spChg>
      </pc:sldChg>
      <pc:sldChg chg="add">
        <pc:chgData name="Radtke, Jonas" userId="1f1096ce-6e00-4466-9867-a4bdba3d9a1b" providerId="ADAL" clId="{DA87B775-73F3-46B2-BEC4-E05BB644B856}" dt="2019-12-05T14:15:51.412" v="236"/>
        <pc:sldMkLst>
          <pc:docMk/>
          <pc:sldMk cId="4134024284" sldId="288"/>
        </pc:sldMkLst>
      </pc:sldChg>
      <pc:sldChg chg="add">
        <pc:chgData name="Radtke, Jonas" userId="1f1096ce-6e00-4466-9867-a4bdba3d9a1b" providerId="ADAL" clId="{DA87B775-73F3-46B2-BEC4-E05BB644B856}" dt="2019-12-05T13:34:41.249" v="0"/>
        <pc:sldMkLst>
          <pc:docMk/>
          <pc:sldMk cId="3535170735" sldId="298"/>
        </pc:sldMkLst>
      </pc:sldChg>
      <pc:sldChg chg="del">
        <pc:chgData name="Radtke, Jonas" userId="1f1096ce-6e00-4466-9867-a4bdba3d9a1b" providerId="ADAL" clId="{DA87B775-73F3-46B2-BEC4-E05BB644B856}" dt="2019-12-05T15:20:26.084" v="1034" actId="2696"/>
        <pc:sldMkLst>
          <pc:docMk/>
          <pc:sldMk cId="1820559787" sldId="300"/>
        </pc:sldMkLst>
      </pc:sldChg>
      <pc:sldChg chg="del">
        <pc:chgData name="Radtke, Jonas" userId="1f1096ce-6e00-4466-9867-a4bdba3d9a1b" providerId="ADAL" clId="{DA87B775-73F3-46B2-BEC4-E05BB644B856}" dt="2019-12-05T15:20:26.223" v="1038" actId="2696"/>
        <pc:sldMkLst>
          <pc:docMk/>
          <pc:sldMk cId="3361232824" sldId="305"/>
        </pc:sldMkLst>
      </pc:sldChg>
      <pc:sldChg chg="del">
        <pc:chgData name="Radtke, Jonas" userId="1f1096ce-6e00-4466-9867-a4bdba3d9a1b" providerId="ADAL" clId="{DA87B775-73F3-46B2-BEC4-E05BB644B856}" dt="2019-12-05T15:20:26.281" v="1040" actId="2696"/>
        <pc:sldMkLst>
          <pc:docMk/>
          <pc:sldMk cId="2442509737" sldId="306"/>
        </pc:sldMkLst>
      </pc:sldChg>
      <pc:sldChg chg="del">
        <pc:chgData name="Radtke, Jonas" userId="1f1096ce-6e00-4466-9867-a4bdba3d9a1b" providerId="ADAL" clId="{DA87B775-73F3-46B2-BEC4-E05BB644B856}" dt="2019-12-05T15:20:26.160" v="1036" actId="2696"/>
        <pc:sldMkLst>
          <pc:docMk/>
          <pc:sldMk cId="2615269207" sldId="307"/>
        </pc:sldMkLst>
      </pc:sldChg>
      <pc:sldChg chg="del">
        <pc:chgData name="Radtke, Jonas" userId="1f1096ce-6e00-4466-9867-a4bdba3d9a1b" providerId="ADAL" clId="{DA87B775-73F3-46B2-BEC4-E05BB644B856}" dt="2019-12-05T15:20:26.312" v="1041" actId="2696"/>
        <pc:sldMkLst>
          <pc:docMk/>
          <pc:sldMk cId="2403860291" sldId="315"/>
        </pc:sldMkLst>
      </pc:sldChg>
      <pc:sldChg chg="del">
        <pc:chgData name="Radtke, Jonas" userId="1f1096ce-6e00-4466-9867-a4bdba3d9a1b" providerId="ADAL" clId="{DA87B775-73F3-46B2-BEC4-E05BB644B856}" dt="2019-12-05T15:20:26.360" v="1043" actId="2696"/>
        <pc:sldMkLst>
          <pc:docMk/>
          <pc:sldMk cId="1929237067" sldId="316"/>
        </pc:sldMkLst>
      </pc:sldChg>
      <pc:sldChg chg="ord">
        <pc:chgData name="Radtke, Jonas" userId="1f1096ce-6e00-4466-9867-a4bdba3d9a1b" providerId="ADAL" clId="{DA87B775-73F3-46B2-BEC4-E05BB644B856}" dt="2019-12-05T15:09:00.227" v="797"/>
        <pc:sldMkLst>
          <pc:docMk/>
          <pc:sldMk cId="2114953609" sldId="317"/>
        </pc:sldMkLst>
      </pc:sldChg>
      <pc:sldChg chg="del">
        <pc:chgData name="Radtke, Jonas" userId="1f1096ce-6e00-4466-9867-a4bdba3d9a1b" providerId="ADAL" clId="{DA87B775-73F3-46B2-BEC4-E05BB644B856}" dt="2019-12-05T15:20:26.335" v="1042" actId="2696"/>
        <pc:sldMkLst>
          <pc:docMk/>
          <pc:sldMk cId="1420098204" sldId="318"/>
        </pc:sldMkLst>
      </pc:sldChg>
      <pc:sldChg chg="del">
        <pc:chgData name="Radtke, Jonas" userId="1f1096ce-6e00-4466-9867-a4bdba3d9a1b" providerId="ADAL" clId="{DA87B775-73F3-46B2-BEC4-E05BB644B856}" dt="2019-12-05T15:20:26.127" v="1035" actId="2696"/>
        <pc:sldMkLst>
          <pc:docMk/>
          <pc:sldMk cId="4161738252" sldId="320"/>
        </pc:sldMkLst>
      </pc:sldChg>
      <pc:sldChg chg="del">
        <pc:chgData name="Radtke, Jonas" userId="1f1096ce-6e00-4466-9867-a4bdba3d9a1b" providerId="ADAL" clId="{DA87B775-73F3-46B2-BEC4-E05BB644B856}" dt="2019-12-05T15:20:26.197" v="1037" actId="2696"/>
        <pc:sldMkLst>
          <pc:docMk/>
          <pc:sldMk cId="2309488930" sldId="323"/>
        </pc:sldMkLst>
      </pc:sldChg>
      <pc:sldChg chg="del">
        <pc:chgData name="Radtke, Jonas" userId="1f1096ce-6e00-4466-9867-a4bdba3d9a1b" providerId="ADAL" clId="{DA87B775-73F3-46B2-BEC4-E05BB644B856}" dt="2019-12-05T15:20:26.258" v="1039" actId="2696"/>
        <pc:sldMkLst>
          <pc:docMk/>
          <pc:sldMk cId="2085802438" sldId="324"/>
        </pc:sldMkLst>
      </pc:sldChg>
      <pc:sldChg chg="modSp">
        <pc:chgData name="Radtke, Jonas" userId="1f1096ce-6e00-4466-9867-a4bdba3d9a1b" providerId="ADAL" clId="{DA87B775-73F3-46B2-BEC4-E05BB644B856}" dt="2019-12-05T15:20:44.063" v="1044" actId="108"/>
        <pc:sldMkLst>
          <pc:docMk/>
          <pc:sldMk cId="2645838579" sldId="325"/>
        </pc:sldMkLst>
        <pc:spChg chg="mod">
          <ac:chgData name="Radtke, Jonas" userId="1f1096ce-6e00-4466-9867-a4bdba3d9a1b" providerId="ADAL" clId="{DA87B775-73F3-46B2-BEC4-E05BB644B856}" dt="2019-12-05T15:20:44.063" v="1044" actId="108"/>
          <ac:spMkLst>
            <pc:docMk/>
            <pc:sldMk cId="2645838579" sldId="325"/>
            <ac:spMk id="98" creationId="{66B090E2-22B5-4A18-99A7-DEC649156FA7}"/>
          </ac:spMkLst>
        </pc:spChg>
      </pc:sldChg>
      <pc:sldChg chg="addSp delSp modSp add ord">
        <pc:chgData name="Radtke, Jonas" userId="1f1096ce-6e00-4466-9867-a4bdba3d9a1b" providerId="ADAL" clId="{DA87B775-73F3-46B2-BEC4-E05BB644B856}" dt="2019-12-05T14:22:17.765" v="336" actId="20577"/>
        <pc:sldMkLst>
          <pc:docMk/>
          <pc:sldMk cId="3969655149" sldId="326"/>
        </pc:sldMkLst>
        <pc:spChg chg="mod ord">
          <ac:chgData name="Radtke, Jonas" userId="1f1096ce-6e00-4466-9867-a4bdba3d9a1b" providerId="ADAL" clId="{DA87B775-73F3-46B2-BEC4-E05BB644B856}" dt="2019-12-05T13:53:05.572" v="171" actId="552"/>
          <ac:spMkLst>
            <pc:docMk/>
            <pc:sldMk cId="3969655149" sldId="326"/>
            <ac:spMk id="2" creationId="{840CD393-42BE-4175-B005-712B6E5B61B1}"/>
          </ac:spMkLst>
        </pc:spChg>
        <pc:spChg chg="del mod ord">
          <ac:chgData name="Radtke, Jonas" userId="1f1096ce-6e00-4466-9867-a4bdba3d9a1b" providerId="ADAL" clId="{DA87B775-73F3-46B2-BEC4-E05BB644B856}" dt="2019-12-05T13:37:54.904" v="73" actId="478"/>
          <ac:spMkLst>
            <pc:docMk/>
            <pc:sldMk cId="3969655149" sldId="326"/>
            <ac:spMk id="3" creationId="{44CB49DC-0608-4EF0-80C6-5772203010A4}"/>
          </ac:spMkLst>
        </pc:spChg>
        <pc:spChg chg="add mod ord modVis">
          <ac:chgData name="Radtke, Jonas" userId="1f1096ce-6e00-4466-9867-a4bdba3d9a1b" providerId="ADAL" clId="{DA87B775-73F3-46B2-BEC4-E05BB644B856}" dt="2019-12-05T13:37:53.161" v="66"/>
          <ac:spMkLst>
            <pc:docMk/>
            <pc:sldMk cId="3969655149" sldId="326"/>
            <ac:spMk id="5" creationId="{89C50A1A-D645-4F62-94D5-EE3C7DE9316A}"/>
          </ac:spMkLst>
        </pc:spChg>
        <pc:spChg chg="add mod">
          <ac:chgData name="Radtke, Jonas" userId="1f1096ce-6e00-4466-9867-a4bdba3d9a1b" providerId="ADAL" clId="{DA87B775-73F3-46B2-BEC4-E05BB644B856}" dt="2019-12-05T13:53:27.690" v="178" actId="164"/>
          <ac:spMkLst>
            <pc:docMk/>
            <pc:sldMk cId="3969655149" sldId="326"/>
            <ac:spMk id="6" creationId="{CFC28D33-10FC-407D-883B-EC9E6D4C1BFA}"/>
          </ac:spMkLst>
        </pc:spChg>
        <pc:spChg chg="add mod">
          <ac:chgData name="Radtke, Jonas" userId="1f1096ce-6e00-4466-9867-a4bdba3d9a1b" providerId="ADAL" clId="{DA87B775-73F3-46B2-BEC4-E05BB644B856}" dt="2019-12-05T13:53:27.690" v="178" actId="164"/>
          <ac:spMkLst>
            <pc:docMk/>
            <pc:sldMk cId="3969655149" sldId="326"/>
            <ac:spMk id="7" creationId="{9A3C5DBF-F466-4E49-ADEE-86E1F7303C34}"/>
          </ac:spMkLst>
        </pc:spChg>
        <pc:spChg chg="add mod">
          <ac:chgData name="Radtke, Jonas" userId="1f1096ce-6e00-4466-9867-a4bdba3d9a1b" providerId="ADAL" clId="{DA87B775-73F3-46B2-BEC4-E05BB644B856}" dt="2019-12-05T13:53:03.243" v="170" actId="164"/>
          <ac:spMkLst>
            <pc:docMk/>
            <pc:sldMk cId="3969655149" sldId="326"/>
            <ac:spMk id="8" creationId="{E644A998-A518-4DA7-B82F-DBA446B5A8B7}"/>
          </ac:spMkLst>
        </pc:spChg>
        <pc:spChg chg="add mod">
          <ac:chgData name="Radtke, Jonas" userId="1f1096ce-6e00-4466-9867-a4bdba3d9a1b" providerId="ADAL" clId="{DA87B775-73F3-46B2-BEC4-E05BB644B856}" dt="2019-12-05T13:53:03.243" v="170" actId="164"/>
          <ac:spMkLst>
            <pc:docMk/>
            <pc:sldMk cId="3969655149" sldId="326"/>
            <ac:spMk id="9" creationId="{E2464510-D14C-43F5-836C-1ED445A6018C}"/>
          </ac:spMkLst>
        </pc:spChg>
        <pc:spChg chg="add del mod">
          <ac:chgData name="Radtke, Jonas" userId="1f1096ce-6e00-4466-9867-a4bdba3d9a1b" providerId="ADAL" clId="{DA87B775-73F3-46B2-BEC4-E05BB644B856}" dt="2019-12-05T13:56:08.031" v="190" actId="478"/>
          <ac:spMkLst>
            <pc:docMk/>
            <pc:sldMk cId="3969655149" sldId="326"/>
            <ac:spMk id="16" creationId="{AA90199B-9CA2-4995-A335-0E98EBCC7CCA}"/>
          </ac:spMkLst>
        </pc:spChg>
        <pc:spChg chg="add mod">
          <ac:chgData name="Radtke, Jonas" userId="1f1096ce-6e00-4466-9867-a4bdba3d9a1b" providerId="ADAL" clId="{DA87B775-73F3-46B2-BEC4-E05BB644B856}" dt="2019-12-05T14:03:58.032" v="234" actId="552"/>
          <ac:spMkLst>
            <pc:docMk/>
            <pc:sldMk cId="3969655149" sldId="326"/>
            <ac:spMk id="17" creationId="{014DF4D8-F045-4DC5-B84C-2CBCFAC841DC}"/>
          </ac:spMkLst>
        </pc:spChg>
        <pc:spChg chg="add mod">
          <ac:chgData name="Radtke, Jonas" userId="1f1096ce-6e00-4466-9867-a4bdba3d9a1b" providerId="ADAL" clId="{DA87B775-73F3-46B2-BEC4-E05BB644B856}" dt="2019-12-05T14:22:17.765" v="336" actId="20577"/>
          <ac:spMkLst>
            <pc:docMk/>
            <pc:sldMk cId="3969655149" sldId="326"/>
            <ac:spMk id="18" creationId="{9E836D1F-E42B-41ED-A4B2-7BB18FF80299}"/>
          </ac:spMkLst>
        </pc:spChg>
        <pc:grpChg chg="add mod topLvl">
          <ac:chgData name="Radtke, Jonas" userId="1f1096ce-6e00-4466-9867-a4bdba3d9a1b" providerId="ADAL" clId="{DA87B775-73F3-46B2-BEC4-E05BB644B856}" dt="2019-12-05T14:03:38.796" v="232" actId="165"/>
          <ac:grpSpMkLst>
            <pc:docMk/>
            <pc:sldMk cId="3969655149" sldId="326"/>
            <ac:grpSpMk id="10" creationId="{1FB78637-0D27-442B-9962-6AFA5DA552CA}"/>
          </ac:grpSpMkLst>
        </pc:grpChg>
        <pc:grpChg chg="add mod topLvl">
          <ac:chgData name="Radtke, Jonas" userId="1f1096ce-6e00-4466-9867-a4bdba3d9a1b" providerId="ADAL" clId="{DA87B775-73F3-46B2-BEC4-E05BB644B856}" dt="2019-12-05T14:03:58.032" v="234" actId="552"/>
          <ac:grpSpMkLst>
            <pc:docMk/>
            <pc:sldMk cId="3969655149" sldId="326"/>
            <ac:grpSpMk id="11" creationId="{81CC9AE9-8FBB-4FB6-9B43-158EAB0BA632}"/>
          </ac:grpSpMkLst>
        </pc:grpChg>
        <pc:grpChg chg="add del mod">
          <ac:chgData name="Radtke, Jonas" userId="1f1096ce-6e00-4466-9867-a4bdba3d9a1b" providerId="ADAL" clId="{DA87B775-73F3-46B2-BEC4-E05BB644B856}" dt="2019-12-05T13:54:01.965" v="182" actId="478"/>
          <ac:grpSpMkLst>
            <pc:docMk/>
            <pc:sldMk cId="3969655149" sldId="326"/>
            <ac:grpSpMk id="12" creationId="{389C45FA-7CEB-4B10-9687-2A238411395E}"/>
          </ac:grpSpMkLst>
        </pc:grpChg>
        <pc:grpChg chg="add del mod">
          <ac:chgData name="Radtke, Jonas" userId="1f1096ce-6e00-4466-9867-a4bdba3d9a1b" providerId="ADAL" clId="{DA87B775-73F3-46B2-BEC4-E05BB644B856}" dt="2019-12-05T14:03:38.796" v="232" actId="165"/>
          <ac:grpSpMkLst>
            <pc:docMk/>
            <pc:sldMk cId="3969655149" sldId="326"/>
            <ac:grpSpMk id="15" creationId="{5E1AC09B-6FFC-4672-8E5A-A013CD733518}"/>
          </ac:grpSpMkLst>
        </pc:grpChg>
        <pc:graphicFrameChg chg="add mod ord modVis">
          <ac:chgData name="Radtke, Jonas" userId="1f1096ce-6e00-4466-9867-a4bdba3d9a1b" providerId="ADAL" clId="{DA87B775-73F3-46B2-BEC4-E05BB644B856}" dt="2019-12-05T13:37:53.171" v="72"/>
          <ac:graphicFrameMkLst>
            <pc:docMk/>
            <pc:sldMk cId="3969655149" sldId="326"/>
            <ac:graphicFrameMk id="4" creationId="{9C87FC1C-4B39-430E-A4C6-530E1FDF1D64}"/>
          </ac:graphicFrameMkLst>
        </pc:graphicFrameChg>
      </pc:sldChg>
      <pc:sldChg chg="addSp modSp add">
        <pc:chgData name="Radtke, Jonas" userId="1f1096ce-6e00-4466-9867-a4bdba3d9a1b" providerId="ADAL" clId="{DA87B775-73F3-46B2-BEC4-E05BB644B856}" dt="2019-12-05T14:32:42.358" v="541" actId="20577"/>
        <pc:sldMkLst>
          <pc:docMk/>
          <pc:sldMk cId="341741717" sldId="327"/>
        </pc:sldMkLst>
        <pc:spChg chg="mod">
          <ac:chgData name="Radtke, Jonas" userId="1f1096ce-6e00-4466-9867-a4bdba3d9a1b" providerId="ADAL" clId="{DA87B775-73F3-46B2-BEC4-E05BB644B856}" dt="2019-12-05T14:24:06.504" v="349" actId="20577"/>
          <ac:spMkLst>
            <pc:docMk/>
            <pc:sldMk cId="341741717" sldId="327"/>
            <ac:spMk id="2" creationId="{3AD24B27-E630-4647-8DC1-BCBD5367F62D}"/>
          </ac:spMkLst>
        </pc:spChg>
        <pc:spChg chg="mod">
          <ac:chgData name="Radtke, Jonas" userId="1f1096ce-6e00-4466-9867-a4bdba3d9a1b" providerId="ADAL" clId="{DA87B775-73F3-46B2-BEC4-E05BB644B856}" dt="2019-12-05T14:32:42.358" v="541" actId="20577"/>
          <ac:spMkLst>
            <pc:docMk/>
            <pc:sldMk cId="341741717" sldId="327"/>
            <ac:spMk id="3" creationId="{17233029-BD67-4188-BFC9-DBDB8A85BCF7}"/>
          </ac:spMkLst>
        </pc:spChg>
        <pc:graphicFrameChg chg="add mod ord modVis">
          <ac:chgData name="Radtke, Jonas" userId="1f1096ce-6e00-4466-9867-a4bdba3d9a1b" providerId="ADAL" clId="{DA87B775-73F3-46B2-BEC4-E05BB644B856}" dt="2019-12-05T14:24:07.104" v="364"/>
          <ac:graphicFrameMkLst>
            <pc:docMk/>
            <pc:sldMk cId="341741717" sldId="327"/>
            <ac:graphicFrameMk id="4" creationId="{779721E3-A3D8-4FFC-9054-2519044BD8D4}"/>
          </ac:graphicFrameMkLst>
        </pc:graphicFrameChg>
      </pc:sldChg>
      <pc:sldChg chg="addSp modSp add">
        <pc:chgData name="Radtke, Jonas" userId="1f1096ce-6e00-4466-9867-a4bdba3d9a1b" providerId="ADAL" clId="{DA87B775-73F3-46B2-BEC4-E05BB644B856}" dt="2019-12-05T15:08:49.639" v="796" actId="5793"/>
        <pc:sldMkLst>
          <pc:docMk/>
          <pc:sldMk cId="1403065288" sldId="328"/>
        </pc:sldMkLst>
        <pc:spChg chg="mod ord">
          <ac:chgData name="Radtke, Jonas" userId="1f1096ce-6e00-4466-9867-a4bdba3d9a1b" providerId="ADAL" clId="{DA87B775-73F3-46B2-BEC4-E05BB644B856}" dt="2019-12-05T14:51:21.734" v="680" actId="313"/>
          <ac:spMkLst>
            <pc:docMk/>
            <pc:sldMk cId="1403065288" sldId="328"/>
            <ac:spMk id="2" creationId="{3AD24B27-E630-4647-8DC1-BCBD5367F62D}"/>
          </ac:spMkLst>
        </pc:spChg>
        <pc:spChg chg="mod ord">
          <ac:chgData name="Radtke, Jonas" userId="1f1096ce-6e00-4466-9867-a4bdba3d9a1b" providerId="ADAL" clId="{DA87B775-73F3-46B2-BEC4-E05BB644B856}" dt="2019-12-05T15:08:49.639" v="796" actId="5793"/>
          <ac:spMkLst>
            <pc:docMk/>
            <pc:sldMk cId="1403065288" sldId="328"/>
            <ac:spMk id="3" creationId="{17233029-BD67-4188-BFC9-DBDB8A85BCF7}"/>
          </ac:spMkLst>
        </pc:spChg>
        <pc:spChg chg="add mod ord modVis">
          <ac:chgData name="Radtke, Jonas" userId="1f1096ce-6e00-4466-9867-a4bdba3d9a1b" providerId="ADAL" clId="{DA87B775-73F3-46B2-BEC4-E05BB644B856}" dt="2019-12-05T14:33:45.149" v="590"/>
          <ac:spMkLst>
            <pc:docMk/>
            <pc:sldMk cId="1403065288" sldId="328"/>
            <ac:spMk id="5" creationId="{86FD012D-E3E4-4D19-8B3E-03339BC062EF}"/>
          </ac:spMkLst>
        </pc:spChg>
        <pc:graphicFrameChg chg="mod ord">
          <ac:chgData name="Radtke, Jonas" userId="1f1096ce-6e00-4466-9867-a4bdba3d9a1b" providerId="ADAL" clId="{DA87B775-73F3-46B2-BEC4-E05BB644B856}" dt="2019-12-05T14:51:22.293" v="682"/>
          <ac:graphicFrameMkLst>
            <pc:docMk/>
            <pc:sldMk cId="1403065288" sldId="328"/>
            <ac:graphicFrameMk id="4" creationId="{779721E3-A3D8-4FFC-9054-2519044BD8D4}"/>
          </ac:graphicFrameMkLst>
        </pc:graphicFrameChg>
      </pc:sldChg>
      <pc:sldChg chg="addSp delSp modSp add">
        <pc:chgData name="Radtke, Jonas" userId="1f1096ce-6e00-4466-9867-a4bdba3d9a1b" providerId="ADAL" clId="{DA87B775-73F3-46B2-BEC4-E05BB644B856}" dt="2019-12-05T15:20:11.770" v="1033" actId="478"/>
        <pc:sldMkLst>
          <pc:docMk/>
          <pc:sldMk cId="4009844971" sldId="329"/>
        </pc:sldMkLst>
        <pc:spChg chg="mod">
          <ac:chgData name="Radtke, Jonas" userId="1f1096ce-6e00-4466-9867-a4bdba3d9a1b" providerId="ADAL" clId="{DA87B775-73F3-46B2-BEC4-E05BB644B856}" dt="2019-12-05T15:11:46.630" v="821" actId="20577"/>
          <ac:spMkLst>
            <pc:docMk/>
            <pc:sldMk cId="4009844971" sldId="329"/>
            <ac:spMk id="2" creationId="{A0D6F32D-ADB6-44B6-9E2C-DF587BC2746C}"/>
          </ac:spMkLst>
        </pc:spChg>
        <pc:spChg chg="del">
          <ac:chgData name="Radtke, Jonas" userId="1f1096ce-6e00-4466-9867-a4bdba3d9a1b" providerId="ADAL" clId="{DA87B775-73F3-46B2-BEC4-E05BB644B856}" dt="2019-12-05T15:11:48.884" v="824" actId="478"/>
          <ac:spMkLst>
            <pc:docMk/>
            <pc:sldMk cId="4009844971" sldId="329"/>
            <ac:spMk id="3" creationId="{0A982793-5BAF-453A-9AF5-1F2688F075A3}"/>
          </ac:spMkLst>
        </pc:spChg>
        <pc:spChg chg="add del">
          <ac:chgData name="Radtke, Jonas" userId="1f1096ce-6e00-4466-9867-a4bdba3d9a1b" providerId="ADAL" clId="{DA87B775-73F3-46B2-BEC4-E05BB644B856}" dt="2019-12-05T15:12:17.923" v="826" actId="478"/>
          <ac:spMkLst>
            <pc:docMk/>
            <pc:sldMk cId="4009844971" sldId="329"/>
            <ac:spMk id="5" creationId="{2DBD711C-C109-44A5-A367-8B94852ECFC2}"/>
          </ac:spMkLst>
        </pc:spChg>
        <pc:spChg chg="add">
          <ac:chgData name="Radtke, Jonas" userId="1f1096ce-6e00-4466-9867-a4bdba3d9a1b" providerId="ADAL" clId="{DA87B775-73F3-46B2-BEC4-E05BB644B856}" dt="2019-12-05T15:12:36.844" v="827"/>
          <ac:spMkLst>
            <pc:docMk/>
            <pc:sldMk cId="4009844971" sldId="329"/>
            <ac:spMk id="6" creationId="{B253D33E-1CA3-4935-A33B-F1E186A80136}"/>
          </ac:spMkLst>
        </pc:spChg>
        <pc:spChg chg="add">
          <ac:chgData name="Radtke, Jonas" userId="1f1096ce-6e00-4466-9867-a4bdba3d9a1b" providerId="ADAL" clId="{DA87B775-73F3-46B2-BEC4-E05BB644B856}" dt="2019-12-05T15:12:36.844" v="827"/>
          <ac:spMkLst>
            <pc:docMk/>
            <pc:sldMk cId="4009844971" sldId="329"/>
            <ac:spMk id="8" creationId="{D43388A3-2D47-4820-B1BF-3FD8AE4C461C}"/>
          </ac:spMkLst>
        </pc:spChg>
        <pc:spChg chg="add">
          <ac:chgData name="Radtke, Jonas" userId="1f1096ce-6e00-4466-9867-a4bdba3d9a1b" providerId="ADAL" clId="{DA87B775-73F3-46B2-BEC4-E05BB644B856}" dt="2019-12-05T15:12:36.844" v="827"/>
          <ac:spMkLst>
            <pc:docMk/>
            <pc:sldMk cId="4009844971" sldId="329"/>
            <ac:spMk id="12" creationId="{B28F1082-B7F3-4973-8C80-2F23694C1726}"/>
          </ac:spMkLst>
        </pc:spChg>
        <pc:spChg chg="add">
          <ac:chgData name="Radtke, Jonas" userId="1f1096ce-6e00-4466-9867-a4bdba3d9a1b" providerId="ADAL" clId="{DA87B775-73F3-46B2-BEC4-E05BB644B856}" dt="2019-12-05T15:12:36.844" v="827"/>
          <ac:spMkLst>
            <pc:docMk/>
            <pc:sldMk cId="4009844971" sldId="329"/>
            <ac:spMk id="16" creationId="{D9885987-3C4E-4FC4-A478-54D60934F166}"/>
          </ac:spMkLst>
        </pc:spChg>
        <pc:spChg chg="add">
          <ac:chgData name="Radtke, Jonas" userId="1f1096ce-6e00-4466-9867-a4bdba3d9a1b" providerId="ADAL" clId="{DA87B775-73F3-46B2-BEC4-E05BB644B856}" dt="2019-12-05T15:12:36.844" v="827"/>
          <ac:spMkLst>
            <pc:docMk/>
            <pc:sldMk cId="4009844971" sldId="329"/>
            <ac:spMk id="20" creationId="{C7F5AF9D-0DE2-47CD-80E0-771E6B84CB4F}"/>
          </ac:spMkLst>
        </pc:spChg>
        <pc:spChg chg="add">
          <ac:chgData name="Radtke, Jonas" userId="1f1096ce-6e00-4466-9867-a4bdba3d9a1b" providerId="ADAL" clId="{DA87B775-73F3-46B2-BEC4-E05BB644B856}" dt="2019-12-05T15:12:36.844" v="827"/>
          <ac:spMkLst>
            <pc:docMk/>
            <pc:sldMk cId="4009844971" sldId="329"/>
            <ac:spMk id="21" creationId="{35C864C7-2985-4356-BD27-190393C8A7EB}"/>
          </ac:spMkLst>
        </pc:spChg>
        <pc:spChg chg="add">
          <ac:chgData name="Radtke, Jonas" userId="1f1096ce-6e00-4466-9867-a4bdba3d9a1b" providerId="ADAL" clId="{DA87B775-73F3-46B2-BEC4-E05BB644B856}" dt="2019-12-05T15:12:36.844" v="827"/>
          <ac:spMkLst>
            <pc:docMk/>
            <pc:sldMk cId="4009844971" sldId="329"/>
            <ac:spMk id="22" creationId="{42C306D0-92CD-44DB-9872-9E18722E0662}"/>
          </ac:spMkLst>
        </pc:spChg>
        <pc:spChg chg="add mod">
          <ac:chgData name="Radtke, Jonas" userId="1f1096ce-6e00-4466-9867-a4bdba3d9a1b" providerId="ADAL" clId="{DA87B775-73F3-46B2-BEC4-E05BB644B856}" dt="2019-12-05T15:18:58.770" v="1032" actId="20577"/>
          <ac:spMkLst>
            <pc:docMk/>
            <pc:sldMk cId="4009844971" sldId="329"/>
            <ac:spMk id="23" creationId="{2617275A-ED21-46B1-8EBD-6C56360712E8}"/>
          </ac:spMkLst>
        </pc:spChg>
        <pc:grpChg chg="add del">
          <ac:chgData name="Radtke, Jonas" userId="1f1096ce-6e00-4466-9867-a4bdba3d9a1b" providerId="ADAL" clId="{DA87B775-73F3-46B2-BEC4-E05BB644B856}" dt="2019-12-05T15:20:11.770" v="1033" actId="478"/>
          <ac:grpSpMkLst>
            <pc:docMk/>
            <pc:sldMk cId="4009844971" sldId="329"/>
            <ac:grpSpMk id="9" creationId="{4AC9ADC9-22EA-4A4F-B00F-66E2EF33272A}"/>
          </ac:grpSpMkLst>
        </pc:grpChg>
        <pc:grpChg chg="add del">
          <ac:chgData name="Radtke, Jonas" userId="1f1096ce-6e00-4466-9867-a4bdba3d9a1b" providerId="ADAL" clId="{DA87B775-73F3-46B2-BEC4-E05BB644B856}" dt="2019-12-05T15:20:11.770" v="1033" actId="478"/>
          <ac:grpSpMkLst>
            <pc:docMk/>
            <pc:sldMk cId="4009844971" sldId="329"/>
            <ac:grpSpMk id="13" creationId="{5D58C79F-4CA8-49A6-98E3-8E92F0E68F26}"/>
          </ac:grpSpMkLst>
        </pc:grpChg>
        <pc:grpChg chg="add del">
          <ac:chgData name="Radtke, Jonas" userId="1f1096ce-6e00-4466-9867-a4bdba3d9a1b" providerId="ADAL" clId="{DA87B775-73F3-46B2-BEC4-E05BB644B856}" dt="2019-12-05T15:20:11.770" v="1033" actId="478"/>
          <ac:grpSpMkLst>
            <pc:docMk/>
            <pc:sldMk cId="4009844971" sldId="329"/>
            <ac:grpSpMk id="17" creationId="{04DBE33A-F769-47FA-A454-EF4F078A5934}"/>
          </ac:grpSpMkLst>
        </pc:grpChg>
        <pc:graphicFrameChg chg="add mod ord modVis">
          <ac:chgData name="Radtke, Jonas" userId="1f1096ce-6e00-4466-9867-a4bdba3d9a1b" providerId="ADAL" clId="{DA87B775-73F3-46B2-BEC4-E05BB644B856}" dt="2019-12-05T15:11:47.139" v="823"/>
          <ac:graphicFrameMkLst>
            <pc:docMk/>
            <pc:sldMk cId="4009844971" sldId="329"/>
            <ac:graphicFrameMk id="4" creationId="{23049492-E1DB-4F95-8377-57211C984491}"/>
          </ac:graphicFrameMkLst>
        </pc:graphicFrameChg>
        <pc:cxnChg chg="add del">
          <ac:chgData name="Radtke, Jonas" userId="1f1096ce-6e00-4466-9867-a4bdba3d9a1b" providerId="ADAL" clId="{DA87B775-73F3-46B2-BEC4-E05BB644B856}" dt="2019-12-05T15:20:11.770" v="1033" actId="478"/>
          <ac:cxnSpMkLst>
            <pc:docMk/>
            <pc:sldMk cId="4009844971" sldId="329"/>
            <ac:cxnSpMk id="7" creationId="{4E7A1297-855A-4D60-9998-0738BA02FFF8}"/>
          </ac:cxnSpMkLst>
        </pc:cxnChg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E21119C-7A9A-4510-A2ED-66F728CB0A00}" type="datetimeFigureOut">
              <a:rPr lang="de-DE" smtClean="0"/>
              <a:t>06.12.19</a:t>
            </a:fld>
            <a:endParaRPr lang="de-DE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Click to edit Master text styles</a:t>
            </a:r>
          </a:p>
          <a:p>
            <a:pPr lvl="1"/>
            <a:r>
              <a:rPr lang="de-DE"/>
              <a:t>Second level</a:t>
            </a:r>
          </a:p>
          <a:p>
            <a:pPr lvl="2"/>
            <a:r>
              <a:rPr lang="de-DE"/>
              <a:t>Third level</a:t>
            </a:r>
          </a:p>
          <a:p>
            <a:pPr lvl="3"/>
            <a:r>
              <a:rPr lang="de-DE"/>
              <a:t>Fourth level</a:t>
            </a:r>
          </a:p>
          <a:p>
            <a:pPr lvl="4"/>
            <a:r>
              <a:rPr lang="de-DE"/>
              <a:t>Fifth level</a:t>
            </a:r>
            <a:endParaRPr lang="de-DE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B76C265-8CDC-49E2-B9A1-2A4780B5800B}" type="slidenum">
              <a:rPr lang="de-DE" smtClean="0"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02792384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B76C265-8CDC-49E2-B9A1-2A4780B5800B}" type="slidenum">
              <a:rPr lang="de-DE" smtClean="0"/>
              <a:t>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3972996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B76C265-8CDC-49E2-B9A1-2A4780B5800B}" type="slidenum">
              <a:rPr lang="de-DE" smtClean="0"/>
              <a:t>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47917732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B76C265-8CDC-49E2-B9A1-2A4780B5800B}" type="slidenum">
              <a:rPr lang="de-DE" smtClean="0"/>
              <a:t>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07307811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B76C265-8CDC-49E2-B9A1-2A4780B5800B}" type="slidenum">
              <a:rPr lang="de-DE" smtClean="0"/>
              <a:t>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84995716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B76C265-8CDC-49E2-B9A1-2A4780B5800B}" type="slidenum">
              <a:rPr lang="de-DE" smtClean="0"/>
              <a:t>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11546593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B76C265-8CDC-49E2-B9A1-2A4780B5800B}" type="slidenum">
              <a:rPr lang="de-DE" smtClean="0"/>
              <a:t>9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9782453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B76C265-8CDC-49E2-B9A1-2A4780B5800B}" type="slidenum">
              <a:rPr lang="de-DE" smtClean="0"/>
              <a:t>1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6945925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B76C265-8CDC-49E2-B9A1-2A4780B5800B}" type="slidenum">
              <a:rPr lang="de-DE" smtClean="0"/>
              <a:t>1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9525429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7" Type="http://schemas.openxmlformats.org/officeDocument/2006/relationships/image" Target="../media/image2.png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7" Type="http://schemas.openxmlformats.org/officeDocument/2006/relationships/image" Target="../media/image2.png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7" Type="http://schemas.openxmlformats.org/officeDocument/2006/relationships/image" Target="../media/image2.png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7" Type="http://schemas.openxmlformats.org/officeDocument/2006/relationships/image" Target="../media/image2.png"/><Relationship Id="rId2" Type="http://schemas.openxmlformats.org/officeDocument/2006/relationships/tags" Target="../tags/tag10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7" Type="http://schemas.openxmlformats.org/officeDocument/2006/relationships/image" Target="../media/image2.png"/><Relationship Id="rId2" Type="http://schemas.openxmlformats.org/officeDocument/2006/relationships/tags" Target="../tags/tag12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7D9B8441-69E9-4271-A62A-EFFBBD9A106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793500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8"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7D9B8441-69E9-4271-A62A-EFFBBD9A10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34140254-5418-4D20-B811-3F63384BCAA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3800" b="0" i="0" baseline="0" dirty="0">
              <a:latin typeface="Gill Sans MT" panose="020B0502020104020203" pitchFamily="34" charset="0"/>
              <a:ea typeface="+mj-ea"/>
              <a:cs typeface="+mj-cs"/>
              <a:sym typeface="Gill Sans MT" panose="020B0502020104020203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blackWhite">
          <a:xfrm>
            <a:off x="1600200" y="2013113"/>
            <a:ext cx="8991600" cy="1645920"/>
          </a:xfrm>
          <a:prstGeom prst="rect">
            <a:avLst/>
          </a:prstGeom>
          <a:solidFill>
            <a:srgbClr val="FFFFFF"/>
          </a:solidFill>
          <a:ln w="38100">
            <a:solidFill>
              <a:srgbClr val="404040"/>
            </a:solidFill>
          </a:ln>
        </p:spPr>
        <p:txBody>
          <a:bodyPr lIns="274320" rIns="274320" anchor="ctr" anchorCtr="1">
            <a:normAutofit/>
          </a:bodyPr>
          <a:lstStyle>
            <a:lvl1pPr algn="ctr">
              <a:defRPr sz="3800">
                <a:solidFill>
                  <a:srgbClr val="262626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pic>
        <p:nvPicPr>
          <p:cNvPr id="10" name="Picture 9" descr="A close up of a logo&#10;&#10;Description automatically generated">
            <a:extLst>
              <a:ext uri="{FF2B5EF4-FFF2-40B4-BE49-F238E27FC236}">
                <a16:creationId xmlns:a16="http://schemas.microsoft.com/office/drawing/2014/main" id="{1AC65B7F-0B5E-4A62-8942-F7C122CDDB0B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3286911" y="4573411"/>
            <a:ext cx="5618178" cy="1800000"/>
          </a:xfrm>
          <a:prstGeom prst="rect">
            <a:avLst/>
          </a:prstGeom>
        </p:spPr>
      </p:pic>
      <p:sp>
        <p:nvSpPr>
          <p:cNvPr id="11" name="Footer Placeholder 11">
            <a:extLst>
              <a:ext uri="{FF2B5EF4-FFF2-40B4-BE49-F238E27FC236}">
                <a16:creationId xmlns:a16="http://schemas.microsoft.com/office/drawing/2014/main" id="{CA5FE62A-FC40-4169-A2A1-7525256B65F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75384" y="6556247"/>
            <a:ext cx="6862233" cy="229563"/>
          </a:xfrm>
          <a:prstGeom prst="rect">
            <a:avLst/>
          </a:prstGeom>
        </p:spPr>
        <p:txBody>
          <a:bodyPr/>
          <a:lstStyle/>
          <a:p>
            <a:r>
              <a:rPr lang="en-US" sz="900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pyright © 2019 dual study fit. All rights reserved. </a:t>
            </a:r>
            <a:endParaRPr lang="de-DE" sz="900" dirty="0">
              <a:solidFill>
                <a:schemeClr val="bg1">
                  <a:lumMod val="6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Divide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9A53067D-A437-46DE-BA59-EA3B6A6C5BF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916246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2"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9A53067D-A437-46DE-BA59-EA3B6A6C5BF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8A357421-64D2-4603-9A3E-71990DCD998C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3800" b="0" i="0" baseline="0" dirty="0">
              <a:latin typeface="Gill Sans MT" panose="020B0502020104020203" pitchFamily="34" charset="0"/>
              <a:ea typeface="+mj-ea"/>
              <a:cs typeface="+mj-cs"/>
              <a:sym typeface="Gill Sans MT" panose="020B0502020104020203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600200" y="2386744"/>
            <a:ext cx="8991600" cy="1645920"/>
          </a:xfrm>
          <a:prstGeom prst="rect">
            <a:avLst/>
          </a:prstGeom>
          <a:solidFill>
            <a:srgbClr val="FFFFFF"/>
          </a:solidFill>
          <a:ln w="38100">
            <a:solidFill>
              <a:srgbClr val="404040"/>
            </a:solidFill>
          </a:ln>
        </p:spPr>
        <p:txBody>
          <a:bodyPr lIns="274320" rIns="274320" anchor="ctr" anchorCtr="1">
            <a:normAutofit/>
          </a:bodyPr>
          <a:lstStyle>
            <a:lvl1pPr>
              <a:defRPr sz="3800">
                <a:solidFill>
                  <a:srgbClr val="262626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2695194" y="4352465"/>
            <a:ext cx="6801612" cy="1265082"/>
          </a:xfrm>
          <a:prstGeom prst="rect">
            <a:avLst/>
          </a:prstGeom>
        </p:spPr>
        <p:txBody>
          <a:bodyPr anchor="t" anchorCtr="1">
            <a:norm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 dirty="0"/>
              <a:t>Mastertextformat bearbeiten</a:t>
            </a:r>
          </a:p>
        </p:txBody>
      </p:sp>
      <p:pic>
        <p:nvPicPr>
          <p:cNvPr id="10" name="Picture 9" descr="A close up of a logo&#10;&#10;Description automatically generated">
            <a:extLst>
              <a:ext uri="{FF2B5EF4-FFF2-40B4-BE49-F238E27FC236}">
                <a16:creationId xmlns:a16="http://schemas.microsoft.com/office/drawing/2014/main" id="{85A7608B-B1B5-45B9-99DD-9F455DB0E838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10303934" y="6300137"/>
            <a:ext cx="1515890" cy="485674"/>
          </a:xfrm>
          <a:prstGeom prst="rect">
            <a:avLst/>
          </a:prstGeom>
        </p:spPr>
      </p:pic>
      <p:sp>
        <p:nvSpPr>
          <p:cNvPr id="11" name="Footer Placeholder 11">
            <a:extLst>
              <a:ext uri="{FF2B5EF4-FFF2-40B4-BE49-F238E27FC236}">
                <a16:creationId xmlns:a16="http://schemas.microsoft.com/office/drawing/2014/main" id="{4EC2E710-CE41-4BDB-8384-DC26B1D52FA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75384" y="6556247"/>
            <a:ext cx="6862233" cy="229563"/>
          </a:xfrm>
          <a:prstGeom prst="rect">
            <a:avLst/>
          </a:prstGeom>
        </p:spPr>
        <p:txBody>
          <a:bodyPr/>
          <a:lstStyle/>
          <a:p>
            <a:r>
              <a:rPr lang="en-US" sz="900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pyright © 2019 dual study fit. All rights reserved. </a:t>
            </a:r>
            <a:endParaRPr lang="de-DE" sz="900" dirty="0">
              <a:solidFill>
                <a:schemeClr val="bg1">
                  <a:lumMod val="6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8D058329-1B34-46F9-9105-041352C7080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431406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6"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8D058329-1B34-46F9-9105-041352C7080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87E63B11-E653-4972-A88F-09FE90289FE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800" b="1" i="0" baseline="0" dirty="0">
              <a:latin typeface="Gill Sans MT" panose="020B0502020104020203" pitchFamily="34" charset="0"/>
              <a:ea typeface="+mj-ea"/>
              <a:cs typeface="+mj-cs"/>
              <a:sym typeface="Gill Sans MT" panose="020B0502020104020203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75384" y="301752"/>
            <a:ext cx="8980372" cy="660774"/>
          </a:xfrm>
          <a:prstGeom prst="rect">
            <a:avLst/>
          </a:prstGeom>
          <a:noFill/>
          <a:ln>
            <a:noFill/>
          </a:ln>
        </p:spPr>
        <p:txBody>
          <a:bodyPr anchor="ctr"/>
          <a:lstStyle>
            <a:lvl1pPr algn="l">
              <a:defRPr b="1"/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75384" y="1299415"/>
            <a:ext cx="11444438" cy="486008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cxnSp>
        <p:nvCxnSpPr>
          <p:cNvPr id="13" name="Straight Connector 7">
            <a:extLst>
              <a:ext uri="{FF2B5EF4-FFF2-40B4-BE49-F238E27FC236}">
                <a16:creationId xmlns:a16="http://schemas.microsoft.com/office/drawing/2014/main" id="{6A707137-27CC-4329-8C9C-DE6B5C505652}"/>
              </a:ext>
            </a:extLst>
          </p:cNvPr>
          <p:cNvCxnSpPr/>
          <p:nvPr userDrawn="1"/>
        </p:nvCxnSpPr>
        <p:spPr bwMode="auto">
          <a:xfrm>
            <a:off x="375384" y="948312"/>
            <a:ext cx="11444439" cy="0"/>
          </a:xfrm>
          <a:prstGeom prst="line">
            <a:avLst/>
          </a:prstGeom>
          <a:solidFill>
            <a:schemeClr val="bg1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pic>
        <p:nvPicPr>
          <p:cNvPr id="17" name="Picture 16" descr="A close up of a logo&#10;&#10;Description automatically generated">
            <a:extLst>
              <a:ext uri="{FF2B5EF4-FFF2-40B4-BE49-F238E27FC236}">
                <a16:creationId xmlns:a16="http://schemas.microsoft.com/office/drawing/2014/main" id="{0B858676-B511-4EF1-AAE1-4227FF9ED0BC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10303934" y="6300137"/>
            <a:ext cx="1515890" cy="485674"/>
          </a:xfrm>
          <a:prstGeom prst="rect">
            <a:avLst/>
          </a:prstGeom>
        </p:spPr>
      </p:pic>
      <p:sp>
        <p:nvSpPr>
          <p:cNvPr id="20" name="Footer Placeholder 11">
            <a:extLst>
              <a:ext uri="{FF2B5EF4-FFF2-40B4-BE49-F238E27FC236}">
                <a16:creationId xmlns:a16="http://schemas.microsoft.com/office/drawing/2014/main" id="{FC0180DA-E9EC-4283-A15F-3B6FC4F956C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75384" y="6556247"/>
            <a:ext cx="6862233" cy="229563"/>
          </a:xfrm>
          <a:prstGeom prst="rect">
            <a:avLst/>
          </a:prstGeom>
        </p:spPr>
        <p:txBody>
          <a:bodyPr/>
          <a:lstStyle/>
          <a:p>
            <a:r>
              <a:rPr lang="en-US" sz="900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pyright © 2019 dual study fit. All rights reserved. </a:t>
            </a:r>
            <a:endParaRPr lang="de-DE" sz="900" dirty="0">
              <a:solidFill>
                <a:schemeClr val="bg1">
                  <a:lumMod val="6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</p:cSld>
  <p:clrMapOvr>
    <a:masterClrMapping/>
  </p:clrMapOvr>
  <p:hf hdr="0" ft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F05BBDE-6F28-4CA5-9C2A-6D32ECB934A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584794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30"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F05BBDE-6F28-4CA5-9C2A-6D32ECB934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D34CF54A-7717-44DC-91B3-7B3ACD1BDD2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800" b="1" i="0" baseline="0" dirty="0">
              <a:latin typeface="Gill Sans MT" panose="020B0502020104020203" pitchFamily="34" charset="0"/>
              <a:ea typeface="+mj-ea"/>
              <a:cs typeface="+mj-cs"/>
              <a:sym typeface="Gill Sans MT" panose="020B0502020104020203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375384" y="1299415"/>
            <a:ext cx="5478299" cy="486008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338320" y="1299415"/>
            <a:ext cx="5481504" cy="486008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7628448E-04A5-49E0-818E-85C0885DFAC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5384" y="301752"/>
            <a:ext cx="8980372" cy="660774"/>
          </a:xfrm>
          <a:prstGeom prst="rect">
            <a:avLst/>
          </a:prstGeom>
          <a:noFill/>
          <a:ln>
            <a:noFill/>
          </a:ln>
        </p:spPr>
        <p:txBody>
          <a:bodyPr anchor="ctr"/>
          <a:lstStyle>
            <a:lvl1pPr algn="l">
              <a:defRPr b="1"/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cxnSp>
        <p:nvCxnSpPr>
          <p:cNvPr id="12" name="Straight Connector 7">
            <a:extLst>
              <a:ext uri="{FF2B5EF4-FFF2-40B4-BE49-F238E27FC236}">
                <a16:creationId xmlns:a16="http://schemas.microsoft.com/office/drawing/2014/main" id="{95CEBE56-1FC4-459D-B4BA-8267A2C6DE93}"/>
              </a:ext>
            </a:extLst>
          </p:cNvPr>
          <p:cNvCxnSpPr/>
          <p:nvPr userDrawn="1"/>
        </p:nvCxnSpPr>
        <p:spPr bwMode="auto">
          <a:xfrm>
            <a:off x="375384" y="948312"/>
            <a:ext cx="11444439" cy="0"/>
          </a:xfrm>
          <a:prstGeom prst="line">
            <a:avLst/>
          </a:prstGeom>
          <a:solidFill>
            <a:schemeClr val="bg1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pic>
        <p:nvPicPr>
          <p:cNvPr id="15" name="Picture 14" descr="A close up of a logo&#10;&#10;Description automatically generated">
            <a:extLst>
              <a:ext uri="{FF2B5EF4-FFF2-40B4-BE49-F238E27FC236}">
                <a16:creationId xmlns:a16="http://schemas.microsoft.com/office/drawing/2014/main" id="{7E6C06A9-5075-4738-9AC0-ED4E6461D053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10303934" y="6300137"/>
            <a:ext cx="1515890" cy="485674"/>
          </a:xfrm>
          <a:prstGeom prst="rect">
            <a:avLst/>
          </a:prstGeom>
        </p:spPr>
      </p:pic>
      <p:sp>
        <p:nvSpPr>
          <p:cNvPr id="18" name="Footer Placeholder 11">
            <a:extLst>
              <a:ext uri="{FF2B5EF4-FFF2-40B4-BE49-F238E27FC236}">
                <a16:creationId xmlns:a16="http://schemas.microsoft.com/office/drawing/2014/main" id="{4ED72154-0E68-4979-856A-060FB7D1D3C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75384" y="6556247"/>
            <a:ext cx="6862233" cy="229563"/>
          </a:xfrm>
          <a:prstGeom prst="rect">
            <a:avLst/>
          </a:prstGeom>
        </p:spPr>
        <p:txBody>
          <a:bodyPr/>
          <a:lstStyle/>
          <a:p>
            <a:r>
              <a:rPr lang="en-US" sz="900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pyright © 2019 dual study fit. All rights reserved. </a:t>
            </a:r>
            <a:endParaRPr lang="de-DE" sz="900" dirty="0">
              <a:solidFill>
                <a:schemeClr val="bg1">
                  <a:lumMod val="6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E420114B-9EC3-4D0E-ABE0-02079D6D51E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066212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4"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E420114B-9EC3-4D0E-ABE0-02079D6D51E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D6D4F702-6718-4E49-AE6C-4B6AAE33EB9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800" b="1" i="0" baseline="0" dirty="0">
              <a:latin typeface="Gill Sans MT" panose="020B0502020104020203" pitchFamily="34" charset="0"/>
              <a:ea typeface="+mj-ea"/>
              <a:cs typeface="+mj-cs"/>
              <a:sym typeface="Gill Sans MT" panose="020B0502020104020203" pitchFamily="34" charset="0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376935" y="1299415"/>
            <a:ext cx="5476749" cy="704087"/>
          </a:xfrm>
          <a:prstGeom prst="rect">
            <a:avLst/>
          </a:prstGeom>
        </p:spPr>
        <p:txBody>
          <a:bodyPr anchor="b" anchorCtr="1">
            <a:normAutofit/>
          </a:bodyPr>
          <a:lstStyle>
            <a:lvl1pPr marL="0" indent="0" algn="ctr">
              <a:buNone/>
              <a:defRPr sz="1900" b="0" cap="all" spc="100" baseline="0">
                <a:solidFill>
                  <a:schemeClr val="accent2">
                    <a:lumMod val="75000"/>
                  </a:schemeClr>
                </a:solidFill>
              </a:defRPr>
            </a:lvl1pPr>
            <a:lvl2pPr marL="457200" indent="0">
              <a:buNone/>
              <a:defRPr sz="19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dirty="0"/>
              <a:t>Mastertextformat bearbeiten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376936" y="2184400"/>
            <a:ext cx="5476748" cy="37465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6338316" y="2184400"/>
            <a:ext cx="5476750" cy="3746500"/>
          </a:xfrm>
          <a:prstGeom prst="rect">
            <a:avLst/>
          </a:prstGeom>
        </p:spPr>
        <p:txBody>
          <a:bodyPr/>
          <a:lstStyle>
            <a:lvl5pPr>
              <a:defRPr/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6338316" y="1299415"/>
            <a:ext cx="5476750" cy="704087"/>
          </a:xfrm>
          <a:prstGeom prst="rect">
            <a:avLst/>
          </a:prstGeom>
        </p:spPr>
        <p:txBody>
          <a:bodyPr anchor="b" anchorCtr="1">
            <a:normAutofit/>
          </a:bodyPr>
          <a:lstStyle>
            <a:lvl1pPr marL="0" indent="0" algn="ctr">
              <a:buNone/>
              <a:defRPr sz="1900" b="0" cap="all" spc="100" baseline="0">
                <a:solidFill>
                  <a:schemeClr val="accent2">
                    <a:lumMod val="75000"/>
                  </a:schemeClr>
                </a:solidFill>
              </a:defRPr>
            </a:lvl1pPr>
            <a:lvl2pPr marL="457200" indent="0">
              <a:buNone/>
              <a:defRPr sz="19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dirty="0"/>
              <a:t>Mastertextformat bearbeiten</a:t>
            </a:r>
          </a:p>
        </p:txBody>
      </p:sp>
      <p:pic>
        <p:nvPicPr>
          <p:cNvPr id="16" name="Picture 15" descr="A close up of a logo&#10;&#10;Description automatically generated">
            <a:extLst>
              <a:ext uri="{FF2B5EF4-FFF2-40B4-BE49-F238E27FC236}">
                <a16:creationId xmlns:a16="http://schemas.microsoft.com/office/drawing/2014/main" id="{0F9E0DFE-D6D8-4F99-B832-233A5E56D842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10303934" y="6300137"/>
            <a:ext cx="1515890" cy="485674"/>
          </a:xfrm>
          <a:prstGeom prst="rect">
            <a:avLst/>
          </a:prstGeom>
        </p:spPr>
      </p:pic>
      <p:sp>
        <p:nvSpPr>
          <p:cNvPr id="17" name="Title 1">
            <a:extLst>
              <a:ext uri="{FF2B5EF4-FFF2-40B4-BE49-F238E27FC236}">
                <a16:creationId xmlns:a16="http://schemas.microsoft.com/office/drawing/2014/main" id="{90C1B60F-AFF9-4966-B789-906BFFBBDCE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5384" y="301752"/>
            <a:ext cx="8980372" cy="660774"/>
          </a:xfrm>
          <a:prstGeom prst="rect">
            <a:avLst/>
          </a:prstGeom>
          <a:noFill/>
          <a:ln>
            <a:noFill/>
          </a:ln>
        </p:spPr>
        <p:txBody>
          <a:bodyPr anchor="ctr"/>
          <a:lstStyle>
            <a:lvl1pPr algn="l">
              <a:defRPr b="1"/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cxnSp>
        <p:nvCxnSpPr>
          <p:cNvPr id="18" name="Straight Connector 7">
            <a:extLst>
              <a:ext uri="{FF2B5EF4-FFF2-40B4-BE49-F238E27FC236}">
                <a16:creationId xmlns:a16="http://schemas.microsoft.com/office/drawing/2014/main" id="{3ACEBACB-0C43-41BC-A088-4202DD1C7BD8}"/>
              </a:ext>
            </a:extLst>
          </p:cNvPr>
          <p:cNvCxnSpPr/>
          <p:nvPr userDrawn="1"/>
        </p:nvCxnSpPr>
        <p:spPr bwMode="auto">
          <a:xfrm>
            <a:off x="375384" y="948312"/>
            <a:ext cx="11444439" cy="0"/>
          </a:xfrm>
          <a:prstGeom prst="line">
            <a:avLst/>
          </a:prstGeom>
          <a:solidFill>
            <a:schemeClr val="bg1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9" name="Footer Placeholder 11">
            <a:extLst>
              <a:ext uri="{FF2B5EF4-FFF2-40B4-BE49-F238E27FC236}">
                <a16:creationId xmlns:a16="http://schemas.microsoft.com/office/drawing/2014/main" id="{B39EA364-5A88-4557-873C-E127693351B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75384" y="6556247"/>
            <a:ext cx="6862233" cy="229563"/>
          </a:xfrm>
          <a:prstGeom prst="rect">
            <a:avLst/>
          </a:prstGeom>
        </p:spPr>
        <p:txBody>
          <a:bodyPr/>
          <a:lstStyle/>
          <a:p>
            <a:r>
              <a:rPr lang="en-US" sz="900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pyright © 2019 dual study fit. All rights reserved. </a:t>
            </a:r>
            <a:endParaRPr lang="de-DE" sz="900" dirty="0">
              <a:solidFill>
                <a:schemeClr val="bg1">
                  <a:lumMod val="6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8F059C49-AA01-4096-96D3-E32E60AE415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37550547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4" name="think-cell Slide" r:id="rId10" imgW="395" imgH="396" progId="TCLayout.ActiveDocument.1">
                  <p:embed/>
                </p:oleObj>
              </mc:Choice>
              <mc:Fallback>
                <p:oleObj name="think-cell Slide" r:id="rId10" imgW="395" imgH="396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8F059C49-AA01-4096-96D3-E32E60AE41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A3CC98DB-03DB-42BD-9173-5AFFBB579101}"/>
              </a:ext>
            </a:extLst>
          </p:cNvPr>
          <p:cNvSpPr/>
          <p:nvPr userDrawn="1">
            <p:custDataLst>
              <p:tags r:id="rId9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800" b="0" i="0" baseline="0" dirty="0">
              <a:latin typeface="Gill Sans MT" panose="020B0502020104020203" pitchFamily="34" charset="0"/>
              <a:ea typeface="+mj-ea"/>
              <a:cs typeface="+mj-cs"/>
              <a:sym typeface="Gill Sans MT" panose="020B0502020104020203" pitchFamily="34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97" r:id="rId1"/>
    <p:sldLayoutId id="2147483699" r:id="rId2"/>
    <p:sldLayoutId id="2147483698" r:id="rId3"/>
    <p:sldLayoutId id="2147483700" r:id="rId4"/>
    <p:sldLayoutId id="2147483701" r:id="rId5"/>
  </p:sldLayoutIdLst>
  <p:hf sldNum="0" hdr="0" ftr="0" dt="0"/>
  <p:txStyles>
    <p:titleStyle>
      <a:lvl1pPr algn="ctr" defTabSz="914400" rtl="0" eaLnBrk="1" latinLnBrk="0" hangingPunct="1">
        <a:lnSpc>
          <a:spcPct val="90000"/>
        </a:lnSpc>
        <a:spcBef>
          <a:spcPct val="0"/>
        </a:spcBef>
        <a:buNone/>
        <a:defRPr sz="2800" kern="1200" cap="all" spc="200" baseline="0">
          <a:solidFill>
            <a:srgbClr val="262626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Clr>
          <a:schemeClr val="accent2"/>
        </a:buClr>
        <a:buFont typeface="Arial" panose="020B0604020202020204" pitchFamily="34" charset="0"/>
        <a:buChar char="•"/>
        <a:defRPr sz="18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1pPr>
      <a:lvl2pPr marL="457200" indent="-228600" algn="l" defTabSz="914400" rtl="0" eaLnBrk="1" latinLnBrk="0" hangingPunct="1">
        <a:lnSpc>
          <a:spcPct val="100000"/>
        </a:lnSpc>
        <a:spcBef>
          <a:spcPts val="1000"/>
        </a:spcBef>
        <a:buClr>
          <a:schemeClr val="accent2"/>
        </a:buClr>
        <a:buFont typeface="Arial" panose="020B0604020202020204" pitchFamily="34" charset="0"/>
        <a:buChar char="•"/>
        <a:defRPr sz="16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2pPr>
      <a:lvl3pPr marL="685800" indent="-228600" algn="l" defTabSz="914400" rtl="0" eaLnBrk="1" latinLnBrk="0" hangingPunct="1">
        <a:lnSpc>
          <a:spcPct val="100000"/>
        </a:lnSpc>
        <a:spcBef>
          <a:spcPts val="1000"/>
        </a:spcBef>
        <a:buClr>
          <a:schemeClr val="accent2"/>
        </a:buClr>
        <a:buFont typeface="Arial" panose="020B0604020202020204" pitchFamily="34" charset="0"/>
        <a:buChar char="•"/>
        <a:defRPr sz="16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3pPr>
      <a:lvl4pPr marL="914400" indent="-228600" algn="l" defTabSz="914400" rtl="0" eaLnBrk="1" latinLnBrk="0" hangingPunct="1">
        <a:lnSpc>
          <a:spcPct val="100000"/>
        </a:lnSpc>
        <a:spcBef>
          <a:spcPts val="1000"/>
        </a:spcBef>
        <a:buClr>
          <a:schemeClr val="accent2"/>
        </a:buClr>
        <a:buFont typeface="Arial" panose="020B0604020202020204" pitchFamily="34" charset="0"/>
        <a:buChar char="•"/>
        <a:defRPr sz="16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4pPr>
      <a:lvl5pPr marL="1143000" indent="-228600" algn="l" defTabSz="914400" rtl="0" eaLnBrk="1" latinLnBrk="0" hangingPunct="1">
        <a:lnSpc>
          <a:spcPct val="100000"/>
        </a:lnSpc>
        <a:spcBef>
          <a:spcPts val="1000"/>
        </a:spcBef>
        <a:buClr>
          <a:schemeClr val="accent2"/>
        </a:buClr>
        <a:buFont typeface="Arial" panose="020B0604020202020204" pitchFamily="34" charset="0"/>
        <a:buChar char="•"/>
        <a:defRPr sz="16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5pPr>
      <a:lvl6pPr marL="1312863" indent="-228600" algn="l" defTabSz="914400" rtl="0" eaLnBrk="1" latinLnBrk="0" hangingPunct="1">
        <a:lnSpc>
          <a:spcPct val="100000"/>
        </a:lnSpc>
        <a:spcBef>
          <a:spcPts val="1000"/>
        </a:spcBef>
        <a:buClr>
          <a:schemeClr val="accent2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1484313" indent="-228600" algn="l" defTabSz="914400" rtl="0" eaLnBrk="1" latinLnBrk="0" hangingPunct="1">
        <a:lnSpc>
          <a:spcPct val="100000"/>
        </a:lnSpc>
        <a:spcBef>
          <a:spcPts val="1000"/>
        </a:spcBef>
        <a:buClr>
          <a:schemeClr val="accent2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1657350" indent="-228600" algn="l" defTabSz="914400" rtl="0" eaLnBrk="1" latinLnBrk="0" hangingPunct="1">
        <a:lnSpc>
          <a:spcPct val="100000"/>
        </a:lnSpc>
        <a:spcBef>
          <a:spcPts val="1000"/>
        </a:spcBef>
        <a:buClr>
          <a:schemeClr val="accent2"/>
        </a:buClr>
        <a:buFont typeface="Arial" panose="020B0604020202020204" pitchFamily="34" charset="0"/>
        <a:buChar char="•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1882775" indent="-228600" algn="l" defTabSz="914400" rtl="0" eaLnBrk="1" latinLnBrk="0" hangingPunct="1">
        <a:lnSpc>
          <a:spcPct val="100000"/>
        </a:lnSpc>
        <a:spcBef>
          <a:spcPts val="1000"/>
        </a:spcBef>
        <a:buClr>
          <a:schemeClr val="accent2"/>
        </a:buClr>
        <a:buFont typeface="Arial" panose="020B0604020202020204" pitchFamily="34" charset="0"/>
        <a:buChar char="•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2" Type="http://schemas.openxmlformats.org/officeDocument/2006/relationships/tags" Target="../tags/tag14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tags" Target="../tags/tag26.xml"/><Relationship Id="rId2" Type="http://schemas.openxmlformats.org/officeDocument/2006/relationships/tags" Target="../tags/tag25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.bin"/><Relationship Id="rId4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27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7.bin"/><Relationship Id="rId4" Type="http://schemas.openxmlformats.org/officeDocument/2006/relationships/notesSlide" Target="../notesSlides/notesSlide7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28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8.bin"/><Relationship Id="rId4" Type="http://schemas.openxmlformats.org/officeDocument/2006/relationships/notesSlide" Target="../notesSlides/notesSlide8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29.xml"/><Relationship Id="rId1" Type="http://schemas.openxmlformats.org/officeDocument/2006/relationships/vmlDrawing" Target="../drawings/vmlDrawing1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9.bin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tags" Target="../tags/tag31.xml"/><Relationship Id="rId2" Type="http://schemas.openxmlformats.org/officeDocument/2006/relationships/tags" Target="../tags/tag30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0.bin"/><Relationship Id="rId4" Type="http://schemas.openxmlformats.org/officeDocument/2006/relationships/slideLayout" Target="../slideLayouts/slideLayout3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tags" Target="../tags/tag33.xml"/><Relationship Id="rId2" Type="http://schemas.openxmlformats.org/officeDocument/2006/relationships/tags" Target="../tags/tag32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1.bin"/><Relationship Id="rId4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34.xml"/><Relationship Id="rId1" Type="http://schemas.openxmlformats.org/officeDocument/2006/relationships/vmlDrawing" Target="../drawings/vmlDrawing2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2.bin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tags" Target="../tags/tag36.xml"/><Relationship Id="rId2" Type="http://schemas.openxmlformats.org/officeDocument/2006/relationships/tags" Target="../tags/tag35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3.bin"/><Relationship Id="rId4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16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notesSlide" Target="../notesSlides/notesSlide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17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notesSlide" Target="../notesSlides/notesSlide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2.png"/><Relationship Id="rId2" Type="http://schemas.openxmlformats.org/officeDocument/2006/relationships/tags" Target="../tags/tag18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notesSlide" Target="../notesSlides/notesSlide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notesSlide" Target="../notesSlides/notesSlide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tags" Target="../tags/tag21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.bin"/><Relationship Id="rId4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22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.bin"/><Relationship Id="rId4" Type="http://schemas.openxmlformats.org/officeDocument/2006/relationships/notesSlide" Target="../notesSlides/notesSlide5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23.xml"/><Relationship Id="rId1" Type="http://schemas.openxmlformats.org/officeDocument/2006/relationships/vmlDrawing" Target="../drawings/vmlDrawing1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24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notesSlide" Target="../notesSlides/notesSlide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2F8FB68A-C6E4-4319-9E03-CBBEA8D8FE5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052433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8"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2F8FB68A-C6E4-4319-9E03-CBBEA8D8FE5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F9DC65F8-6DE8-4769-883C-FC18A2899257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3800" dirty="0">
              <a:latin typeface="Gill Sans MT" panose="020B0502020104020203" pitchFamily="34" charset="0"/>
              <a:ea typeface="+mj-ea"/>
              <a:cs typeface="+mj-cs"/>
              <a:sym typeface="Gill Sans MT" panose="020B0502020104020203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584886B-E280-4F27-90E5-771369E3C55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DE" dirty="0"/>
              <a:t>dual </a:t>
            </a:r>
            <a:r>
              <a:rPr lang="en-US" dirty="0"/>
              <a:t>study</a:t>
            </a:r>
            <a:r>
              <a:rPr lang="de-DE" dirty="0"/>
              <a:t> fit</a:t>
            </a:r>
          </a:p>
        </p:txBody>
      </p:sp>
      <p:sp>
        <p:nvSpPr>
          <p:cNvPr id="9" name="Footer Placeholder 11">
            <a:extLst>
              <a:ext uri="{FF2B5EF4-FFF2-40B4-BE49-F238E27FC236}">
                <a16:creationId xmlns:a16="http://schemas.microsoft.com/office/drawing/2014/main" id="{5CAA55BE-B8AF-48E3-8C58-DBC834D5162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75384" y="6556247"/>
            <a:ext cx="6862233" cy="229563"/>
          </a:xfrm>
          <a:prstGeom prst="rect">
            <a:avLst/>
          </a:prstGeom>
        </p:spPr>
        <p:txBody>
          <a:bodyPr/>
          <a:lstStyle/>
          <a:p>
            <a:r>
              <a:rPr lang="en-US" sz="900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pyright © 2019 dual study fit. All rights reserved. </a:t>
            </a:r>
            <a:endParaRPr lang="de-DE" sz="900" dirty="0">
              <a:solidFill>
                <a:schemeClr val="bg1">
                  <a:lumMod val="6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4731513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79721E3-A3D8-4FFC-9054-2519044BD8D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844660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24"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779721E3-A3D8-4FFC-9054-2519044BD8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86FD012D-E3E4-4D19-8B3E-03339BC062E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de-DE" sz="2800" b="1" dirty="0">
              <a:latin typeface="Gill Sans MT" panose="020B0502020104020203" pitchFamily="34" charset="0"/>
              <a:ea typeface="+mj-ea"/>
              <a:cs typeface="+mj-cs"/>
              <a:sym typeface="Gill Sans MT" panose="020B0502020104020203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D24B27-E630-4647-8DC1-BCBD5367F62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5384" y="301752"/>
            <a:ext cx="11444438" cy="660774"/>
          </a:xfrm>
        </p:spPr>
        <p:txBody>
          <a:bodyPr/>
          <a:lstStyle/>
          <a:p>
            <a:r>
              <a:rPr lang="de-DE" dirty="0"/>
              <a:t>Abweichungen von Ausgangskonzeption</a:t>
            </a: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B1279A19-4D69-4BD7-814F-95C103EA898D}"/>
              </a:ext>
            </a:extLst>
          </p:cNvPr>
          <p:cNvGrpSpPr/>
          <p:nvPr/>
        </p:nvGrpSpPr>
        <p:grpSpPr>
          <a:xfrm>
            <a:off x="1731125" y="1712000"/>
            <a:ext cx="8770091" cy="3789600"/>
            <a:chOff x="1428009" y="1534200"/>
            <a:chExt cx="8770091" cy="3789600"/>
          </a:xfrm>
        </p:grpSpPr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2F738537-4883-4A8B-B02C-1BC16510FFF4}"/>
                </a:ext>
              </a:extLst>
            </p:cNvPr>
            <p:cNvSpPr/>
            <p:nvPr/>
          </p:nvSpPr>
          <p:spPr>
            <a:xfrm>
              <a:off x="2761516" y="2413000"/>
              <a:ext cx="7436584" cy="2032000"/>
            </a:xfrm>
            <a:prstGeom prst="rect">
              <a:avLst/>
            </a:prstGeom>
            <a:solidFill>
              <a:schemeClr val="accent2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0" rtlCol="0" anchor="ctr"/>
            <a:lstStyle/>
            <a:p>
              <a:r>
                <a:rPr lang="de-DE" b="1" dirty="0">
                  <a:solidFill>
                    <a:schemeClr val="tx1"/>
                  </a:solidFill>
                </a:rPr>
                <a:t>Bewerbungsprozess</a:t>
              </a:r>
            </a:p>
            <a:p>
              <a:pPr marL="285750" indent="-285750">
                <a:buFont typeface="Gill Sans MT" panose="020B0502020104020203" pitchFamily="34" charset="0"/>
                <a:buChar char="&gt;"/>
              </a:pPr>
              <a:r>
                <a:rPr lang="de-DE" dirty="0">
                  <a:solidFill>
                    <a:schemeClr val="tx1"/>
                  </a:solidFill>
                </a:rPr>
                <a:t>vereinfachtes Template</a:t>
              </a:r>
            </a:p>
            <a:p>
              <a:pPr marL="285750" indent="-285750">
                <a:buFont typeface="Gill Sans MT" panose="020B0502020104020203" pitchFamily="34" charset="0"/>
                <a:buChar char="&gt;"/>
              </a:pPr>
              <a:r>
                <a:rPr lang="de-DE" dirty="0">
                  <a:solidFill>
                    <a:schemeClr val="tx1"/>
                  </a:solidFill>
                </a:rPr>
                <a:t>direkte Validierung der Bewerbung durch dual </a:t>
              </a:r>
              <a:r>
                <a:rPr lang="de-DE" dirty="0" err="1">
                  <a:solidFill>
                    <a:schemeClr val="tx1"/>
                  </a:solidFill>
                </a:rPr>
                <a:t>study</a:t>
              </a:r>
              <a:r>
                <a:rPr lang="de-DE" dirty="0">
                  <a:solidFill>
                    <a:schemeClr val="tx1"/>
                  </a:solidFill>
                </a:rPr>
                <a:t> fit</a:t>
              </a:r>
            </a:p>
          </p:txBody>
        </p:sp>
        <p:sp>
          <p:nvSpPr>
            <p:cNvPr id="6" name="Lightning Bolt 5">
              <a:extLst>
                <a:ext uri="{FF2B5EF4-FFF2-40B4-BE49-F238E27FC236}">
                  <a16:creationId xmlns:a16="http://schemas.microsoft.com/office/drawing/2014/main" id="{FEFE723F-EC31-4BF9-A14A-F803B0639A52}"/>
                </a:ext>
              </a:extLst>
            </p:cNvPr>
            <p:cNvSpPr/>
            <p:nvPr/>
          </p:nvSpPr>
          <p:spPr>
            <a:xfrm rot="20700000" flipH="1">
              <a:off x="1428009" y="1534200"/>
              <a:ext cx="2747697" cy="3789600"/>
            </a:xfrm>
            <a:prstGeom prst="lightningBol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sp>
        <p:nvSpPr>
          <p:cNvPr id="10" name="Footer Placeholder 11">
            <a:extLst>
              <a:ext uri="{FF2B5EF4-FFF2-40B4-BE49-F238E27FC236}">
                <a16:creationId xmlns:a16="http://schemas.microsoft.com/office/drawing/2014/main" id="{FE871F27-75F2-D649-AC6A-21D497EC70F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75384" y="6556247"/>
            <a:ext cx="6862233" cy="229563"/>
          </a:xfrm>
          <a:prstGeom prst="rect">
            <a:avLst/>
          </a:prstGeom>
        </p:spPr>
        <p:txBody>
          <a:bodyPr/>
          <a:lstStyle/>
          <a:p>
            <a:r>
              <a:rPr lang="en-US" sz="900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pyright © 2019 dual study fit. All rights reserved. </a:t>
            </a:r>
            <a:endParaRPr lang="de-DE" sz="900" dirty="0">
              <a:solidFill>
                <a:schemeClr val="bg1">
                  <a:lumMod val="6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0306528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40A10D55-92B5-469B-B0AA-75EA91D9A2B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35"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40A10D55-92B5-469B-B0AA-75EA91D9A2B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93544CB-F0B9-4434-B5CC-12F00291035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5384" y="301752"/>
            <a:ext cx="8980372" cy="660774"/>
          </a:xfrm>
        </p:spPr>
        <p:txBody>
          <a:bodyPr/>
          <a:lstStyle/>
          <a:p>
            <a:r>
              <a:rPr lang="de-DE"/>
              <a:t>agenda</a:t>
            </a:r>
            <a:endParaRPr lang="de-DE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8509EEA2-55D0-426F-B0FC-F77471B0BBD9}"/>
              </a:ext>
            </a:extLst>
          </p:cNvPr>
          <p:cNvSpPr txBox="1">
            <a:spLocks/>
          </p:cNvSpPr>
          <p:nvPr/>
        </p:nvSpPr>
        <p:spPr>
          <a:xfrm>
            <a:off x="368300" y="1285785"/>
            <a:ext cx="11351296" cy="4286430"/>
          </a:xfrm>
          <a:prstGeom prst="rect">
            <a:avLst/>
          </a:prstGeom>
        </p:spPr>
        <p:txBody>
          <a:bodyPr anchor="ctr"/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6858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9144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1430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312863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484313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65735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882775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463645" lvl="5" indent="-285750">
              <a:spcAft>
                <a:spcPts val="1800"/>
              </a:spcAft>
              <a:buFont typeface="Arial" panose="020B0604020202020204" pitchFamily="34" charset="0"/>
              <a:buChar char="█"/>
            </a:pPr>
            <a:r>
              <a:rPr lang="de-DE" dirty="0" err="1">
                <a:latin typeface="Arial" panose="020B0604020202020204" pitchFamily="34" charset="0"/>
                <a:cs typeface="Arial" panose="020B0604020202020204" pitchFamily="34" charset="0"/>
              </a:rPr>
              <a:t>Recap</a:t>
            </a: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463645" lvl="5" indent="-285750">
              <a:spcAft>
                <a:spcPts val="1800"/>
              </a:spcAft>
              <a:buFont typeface="Arial" panose="020B0604020202020204" pitchFamily="34" charset="0"/>
              <a:buChar char="█"/>
            </a:pPr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Achievements</a:t>
            </a:r>
          </a:p>
          <a:p>
            <a:pPr marL="1463645" lvl="5" indent="-285750">
              <a:spcAft>
                <a:spcPts val="1800"/>
              </a:spcAft>
              <a:buFont typeface="Arial" panose="020B0604020202020204" pitchFamily="34" charset="0"/>
              <a:buChar char="█"/>
            </a:pPr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Abweichungen von Ausgangskonzeption</a:t>
            </a:r>
          </a:p>
          <a:p>
            <a:pPr marL="1463645" lvl="5" indent="-285750">
              <a:spcAft>
                <a:spcPts val="1800"/>
              </a:spcAft>
              <a:buFont typeface="Arial" panose="020B0604020202020204" pitchFamily="34" charset="0"/>
              <a:buChar char="█"/>
            </a:pPr>
            <a:r>
              <a:rPr lang="de-DE" b="1" dirty="0">
                <a:latin typeface="Arial" panose="020B0604020202020204" pitchFamily="34" charset="0"/>
                <a:cs typeface="Arial" panose="020B0604020202020204" pitchFamily="34" charset="0"/>
              </a:rPr>
              <a:t>Live Präsentation</a:t>
            </a:r>
          </a:p>
          <a:p>
            <a:pPr marL="1463645" lvl="5" indent="-285750">
              <a:spcAft>
                <a:spcPts val="1800"/>
              </a:spcAft>
              <a:buFont typeface="Arial" panose="020B0604020202020204" pitchFamily="34" charset="0"/>
              <a:buChar char="█"/>
            </a:pPr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Ausblick</a:t>
            </a:r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784CCE96-990E-40E5-9925-F6252FC604A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75384" y="6556247"/>
            <a:ext cx="6862233" cy="229563"/>
          </a:xfrm>
          <a:prstGeom prst="rect">
            <a:avLst/>
          </a:prstGeom>
        </p:spPr>
        <p:txBody>
          <a:bodyPr/>
          <a:lstStyle/>
          <a:p>
            <a:r>
              <a:rPr lang="en-US" sz="900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pyright © 2019 dual study fit. All rights reserved. </a:t>
            </a:r>
            <a:endParaRPr lang="de-DE" sz="900" dirty="0">
              <a:solidFill>
                <a:schemeClr val="bg1">
                  <a:lumMod val="6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2BF1A655-3D4E-43D7-A112-7B5531E5FED7}"/>
              </a:ext>
            </a:extLst>
          </p:cNvPr>
          <p:cNvSpPr/>
          <p:nvPr/>
        </p:nvSpPr>
        <p:spPr bwMode="auto">
          <a:xfrm>
            <a:off x="1559496" y="3786572"/>
            <a:ext cx="6031497" cy="504056"/>
          </a:xfrm>
          <a:prstGeom prst="rect">
            <a:avLst/>
          </a:prstGeom>
          <a:noFill/>
          <a:ln w="28575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1042988" rtl="0" eaLnBrk="1" fontAlgn="base" latinLnBrk="0" hangingPunct="1">
              <a:lnSpc>
                <a:spcPct val="11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5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8174890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40A10D55-92B5-469B-B0AA-75EA91D9A2B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59"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40A10D55-92B5-469B-B0AA-75EA91D9A2B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93544CB-F0B9-4434-B5CC-12F00291035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5384" y="301752"/>
            <a:ext cx="8980372" cy="660774"/>
          </a:xfrm>
        </p:spPr>
        <p:txBody>
          <a:bodyPr/>
          <a:lstStyle/>
          <a:p>
            <a:r>
              <a:rPr lang="de-DE"/>
              <a:t>agenda</a:t>
            </a:r>
            <a:endParaRPr lang="de-DE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8509EEA2-55D0-426F-B0FC-F77471B0BBD9}"/>
              </a:ext>
            </a:extLst>
          </p:cNvPr>
          <p:cNvSpPr txBox="1">
            <a:spLocks/>
          </p:cNvSpPr>
          <p:nvPr/>
        </p:nvSpPr>
        <p:spPr>
          <a:xfrm>
            <a:off x="368300" y="1285785"/>
            <a:ext cx="11351296" cy="4286430"/>
          </a:xfrm>
          <a:prstGeom prst="rect">
            <a:avLst/>
          </a:prstGeom>
        </p:spPr>
        <p:txBody>
          <a:bodyPr anchor="ctr"/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6858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9144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1430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312863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484313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65735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882775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463645" lvl="5" indent="-285750">
              <a:spcAft>
                <a:spcPts val="1800"/>
              </a:spcAft>
              <a:buFont typeface="Arial" panose="020B0604020202020204" pitchFamily="34" charset="0"/>
              <a:buChar char="█"/>
            </a:pPr>
            <a:r>
              <a:rPr lang="de-DE" dirty="0" err="1">
                <a:latin typeface="Arial" panose="020B0604020202020204" pitchFamily="34" charset="0"/>
                <a:cs typeface="Arial" panose="020B0604020202020204" pitchFamily="34" charset="0"/>
              </a:rPr>
              <a:t>Recap</a:t>
            </a: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463645" lvl="5" indent="-285750">
              <a:spcAft>
                <a:spcPts val="1800"/>
              </a:spcAft>
              <a:buFont typeface="Arial" panose="020B0604020202020204" pitchFamily="34" charset="0"/>
              <a:buChar char="█"/>
            </a:pPr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Achievements</a:t>
            </a:r>
          </a:p>
          <a:p>
            <a:pPr marL="1463645" lvl="5" indent="-285750">
              <a:spcAft>
                <a:spcPts val="1800"/>
              </a:spcAft>
              <a:buFont typeface="Arial" panose="020B0604020202020204" pitchFamily="34" charset="0"/>
              <a:buChar char="█"/>
            </a:pPr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Abweichungen von Ausgangskonzeption</a:t>
            </a:r>
          </a:p>
          <a:p>
            <a:pPr marL="1463645" lvl="5" indent="-285750">
              <a:spcAft>
                <a:spcPts val="1800"/>
              </a:spcAft>
              <a:buFont typeface="Arial" panose="020B0604020202020204" pitchFamily="34" charset="0"/>
              <a:buChar char="█"/>
            </a:pPr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Live Präsentation</a:t>
            </a:r>
          </a:p>
          <a:p>
            <a:pPr marL="1463645" lvl="5" indent="-285750">
              <a:spcAft>
                <a:spcPts val="1800"/>
              </a:spcAft>
              <a:buFont typeface="Arial" panose="020B0604020202020204" pitchFamily="34" charset="0"/>
              <a:buChar char="█"/>
            </a:pPr>
            <a:r>
              <a:rPr lang="de-DE" b="1" dirty="0">
                <a:latin typeface="Arial" panose="020B0604020202020204" pitchFamily="34" charset="0"/>
                <a:cs typeface="Arial" panose="020B0604020202020204" pitchFamily="34" charset="0"/>
              </a:rPr>
              <a:t>Ausblick</a:t>
            </a:r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784CCE96-990E-40E5-9925-F6252FC604A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75384" y="6556247"/>
            <a:ext cx="6862233" cy="229563"/>
          </a:xfrm>
          <a:prstGeom prst="rect">
            <a:avLst/>
          </a:prstGeom>
        </p:spPr>
        <p:txBody>
          <a:bodyPr/>
          <a:lstStyle/>
          <a:p>
            <a:r>
              <a:rPr lang="en-US" sz="900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pyright © 2019 dual study fit. All rights reserved. </a:t>
            </a:r>
            <a:endParaRPr lang="de-DE" sz="900" dirty="0">
              <a:solidFill>
                <a:schemeClr val="bg1">
                  <a:lumMod val="6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2BF1A655-3D4E-43D7-A112-7B5531E5FED7}"/>
              </a:ext>
            </a:extLst>
          </p:cNvPr>
          <p:cNvSpPr/>
          <p:nvPr/>
        </p:nvSpPr>
        <p:spPr bwMode="auto">
          <a:xfrm>
            <a:off x="1559496" y="4377556"/>
            <a:ext cx="6031497" cy="504056"/>
          </a:xfrm>
          <a:prstGeom prst="rect">
            <a:avLst/>
          </a:prstGeom>
          <a:noFill/>
          <a:ln w="28575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1042988" rtl="0" eaLnBrk="1" fontAlgn="base" latinLnBrk="0" hangingPunct="1">
              <a:lnSpc>
                <a:spcPct val="11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5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7220672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23049492-E1DB-4F95-8377-57211C98449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340909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84"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23049492-E1DB-4F95-8377-57211C98449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0D6F32D-ADB6-44B6-9E2C-DF587BC2746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usblick</a:t>
            </a:r>
          </a:p>
        </p:txBody>
      </p:sp>
      <p:grpSp>
        <p:nvGrpSpPr>
          <p:cNvPr id="142" name="Group 141">
            <a:extLst>
              <a:ext uri="{FF2B5EF4-FFF2-40B4-BE49-F238E27FC236}">
                <a16:creationId xmlns:a16="http://schemas.microsoft.com/office/drawing/2014/main" id="{913FF466-165C-4BA5-91AF-3F8D5084CF2A}"/>
              </a:ext>
            </a:extLst>
          </p:cNvPr>
          <p:cNvGrpSpPr/>
          <p:nvPr/>
        </p:nvGrpSpPr>
        <p:grpSpPr>
          <a:xfrm>
            <a:off x="495055" y="1258764"/>
            <a:ext cx="11201891" cy="4851641"/>
            <a:chOff x="495055" y="1258764"/>
            <a:chExt cx="11201891" cy="4851641"/>
          </a:xfrm>
        </p:grpSpPr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11D22A5E-CCAD-45FD-8E9F-5953F4B0FC39}"/>
                </a:ext>
              </a:extLst>
            </p:cNvPr>
            <p:cNvCxnSpPr>
              <a:cxnSpLocks/>
              <a:stCxn id="111" idx="7"/>
              <a:endCxn id="32" idx="3"/>
            </p:cNvCxnSpPr>
            <p:nvPr/>
          </p:nvCxnSpPr>
          <p:spPr>
            <a:xfrm flipV="1">
              <a:off x="1543695" y="2160980"/>
              <a:ext cx="5062182" cy="3047209"/>
            </a:xfrm>
            <a:prstGeom prst="line">
              <a:avLst/>
            </a:prstGeom>
            <a:ln w="28575">
              <a:solidFill>
                <a:schemeClr val="accent2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17" name="_s1031">
              <a:extLst>
                <a:ext uri="{FF2B5EF4-FFF2-40B4-BE49-F238E27FC236}">
                  <a16:creationId xmlns:a16="http://schemas.microsoft.com/office/drawing/2014/main" id="{FDD6697B-09C3-44E2-AE4A-484709B3C57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12339" y="3327498"/>
              <a:ext cx="1854200" cy="4572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"/>
                <a:ea typeface="+mn-ea"/>
                <a:cs typeface="+mn-cs"/>
              </a:endParaRPr>
            </a:p>
          </p:txBody>
        </p:sp>
        <p:sp>
          <p:nvSpPr>
            <p:cNvPr id="19" name="AutoShape 4">
              <a:extLst>
                <a:ext uri="{FF2B5EF4-FFF2-40B4-BE49-F238E27FC236}">
                  <a16:creationId xmlns:a16="http://schemas.microsoft.com/office/drawing/2014/main" id="{A04CB900-44A6-46B4-ABB7-26FF26F478D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59944" y="4492021"/>
              <a:ext cx="5039971" cy="24622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108000" tIns="0" rIns="0" bIns="0" anchor="ctr">
              <a:spAutoFit/>
            </a:bodyPr>
            <a:lstStyle/>
            <a:p>
              <a:pPr marL="0" marR="0" lvl="0" indent="0" algn="l" defTabSz="914400" rtl="0" eaLnBrk="0" fontAlgn="auto" latinLnBrk="0" hangingPunct="0">
                <a:lnSpc>
                  <a:spcPct val="100000"/>
                </a:lnSpc>
                <a:spcBef>
                  <a:spcPts val="200"/>
                </a:spcBef>
                <a:spcAft>
                  <a:spcPts val="2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600" b="1" i="0" u="none" strike="noStrike" kern="1200" cap="none" spc="0" normalizeH="0" baseline="0" noProof="0" dirty="0" err="1">
                  <a:ln>
                    <a:noFill/>
                  </a:ln>
                  <a:solidFill>
                    <a:schemeClr val="accent2">
                      <a:lumMod val="50000"/>
                    </a:schemeClr>
                  </a:solidFill>
                  <a:effectLst/>
                  <a:uLnTx/>
                  <a:uFillTx/>
                  <a:latin typeface="Arial Black" panose="020B0A04020102020204" pitchFamily="34" charset="0"/>
                  <a:ea typeface="+mn-ea"/>
                  <a:cs typeface="+mn-cs"/>
                </a:rPr>
                <a:t>Vertr</a:t>
              </a:r>
              <a:r>
                <a:rPr lang="de-DE" sz="1600" b="1" dirty="0" err="1">
                  <a:solidFill>
                    <a:schemeClr val="accent2">
                      <a:lumMod val="50000"/>
                    </a:schemeClr>
                  </a:solidFill>
                  <a:latin typeface="Arial Black" panose="020B0A04020102020204" pitchFamily="34" charset="0"/>
                </a:rPr>
                <a:t>äge</a:t>
              </a:r>
              <a:r>
                <a:rPr lang="de-DE" sz="1600" b="1" dirty="0">
                  <a:solidFill>
                    <a:schemeClr val="accent2">
                      <a:lumMod val="50000"/>
                    </a:schemeClr>
                  </a:solidFill>
                  <a:latin typeface="Arial Black" panose="020B0A04020102020204" pitchFamily="34" charset="0"/>
                </a:rPr>
                <a:t> mit Unternehmen (&amp; Hochschulen)</a:t>
              </a:r>
              <a:endPara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chemeClr val="accent2">
                    <a:lumMod val="50000"/>
                  </a:schemeClr>
                </a:solidFill>
                <a:effectLst/>
                <a:uLnTx/>
                <a:uFillTx/>
                <a:latin typeface="Arial Black" panose="020B0A04020102020204" pitchFamily="34" charset="0"/>
              </a:endParaRPr>
            </a:p>
          </p:txBody>
        </p:sp>
        <p:sp>
          <p:nvSpPr>
            <p:cNvPr id="25" name="AutoShape 5">
              <a:extLst>
                <a:ext uri="{FF2B5EF4-FFF2-40B4-BE49-F238E27FC236}">
                  <a16:creationId xmlns:a16="http://schemas.microsoft.com/office/drawing/2014/main" id="{F6FE0DA4-57A5-4221-A6AE-58286771F2C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569669" y="3567735"/>
              <a:ext cx="1758019" cy="246221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wrap="square" lIns="108000" tIns="0" rIns="0" bIns="0" anchor="ctr">
              <a:spAutoFit/>
            </a:bodyPr>
            <a:lstStyle/>
            <a:p>
              <a:pPr marL="0" marR="0" lvl="0" indent="0" algn="l" defTabSz="914400" rtl="0" eaLnBrk="0" fontAlgn="auto" latinLnBrk="0" hangingPunct="0">
                <a:lnSpc>
                  <a:spcPct val="100000"/>
                </a:lnSpc>
                <a:spcBef>
                  <a:spcPts val="200"/>
                </a:spcBef>
                <a:spcAft>
                  <a:spcPts val="2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chemeClr val="accent2">
                      <a:lumMod val="50000"/>
                    </a:schemeClr>
                  </a:solidFill>
                  <a:effectLst/>
                  <a:uLnTx/>
                  <a:uFillTx/>
                  <a:latin typeface="Arial Black" panose="020B0A04020102020204" pitchFamily="34" charset="0"/>
                  <a:ea typeface="+mn-ea"/>
                  <a:cs typeface="+mn-cs"/>
                </a:rPr>
                <a:t>Marketing</a:t>
              </a:r>
            </a:p>
          </p:txBody>
        </p:sp>
        <p:sp>
          <p:nvSpPr>
            <p:cNvPr id="27" name="AutoShape 11">
              <a:extLst>
                <a:ext uri="{FF2B5EF4-FFF2-40B4-BE49-F238E27FC236}">
                  <a16:creationId xmlns:a16="http://schemas.microsoft.com/office/drawing/2014/main" id="{EFF7EA03-F5D2-4B58-99B4-B000BEC03B3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068148" y="2642508"/>
              <a:ext cx="3644181" cy="246221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wrap="square" lIns="108000" tIns="0" rIns="0" bIns="0" anchor="ctr">
              <a:spAutoFit/>
            </a:bodyPr>
            <a:lstStyle/>
            <a:p>
              <a:pPr marL="0" marR="0" lvl="0" indent="0" algn="l" defTabSz="914400" rtl="0" eaLnBrk="0" fontAlgn="auto" latinLnBrk="0" hangingPunct="0">
                <a:lnSpc>
                  <a:spcPct val="100000"/>
                </a:lnSpc>
                <a:spcBef>
                  <a:spcPts val="200"/>
                </a:spcBef>
                <a:spcAft>
                  <a:spcPts val="2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600" b="1" i="0" u="none" strike="noStrike" kern="1200" cap="none" spc="0" normalizeH="0" baseline="0" dirty="0">
                  <a:ln>
                    <a:noFill/>
                  </a:ln>
                  <a:solidFill>
                    <a:schemeClr val="accent2">
                      <a:lumMod val="50000"/>
                    </a:schemeClr>
                  </a:solidFill>
                  <a:effectLst/>
                  <a:uLnTx/>
                  <a:uFillTx/>
                  <a:latin typeface="Arial Black" panose="020B0A04020102020204" pitchFamily="34" charset="0"/>
                  <a:ea typeface="+mn-ea"/>
                  <a:cs typeface="+mn-cs"/>
                </a:rPr>
                <a:t>Bewerbungsprozess optimieren</a:t>
              </a:r>
            </a:p>
          </p:txBody>
        </p:sp>
        <p:sp>
          <p:nvSpPr>
            <p:cNvPr id="29" name="AutoShape 13">
              <a:extLst>
                <a:ext uri="{FF2B5EF4-FFF2-40B4-BE49-F238E27FC236}">
                  <a16:creationId xmlns:a16="http://schemas.microsoft.com/office/drawing/2014/main" id="{350C3F11-3D9C-454E-A8C5-7BDE84ABD02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564759" y="1702267"/>
              <a:ext cx="3132187" cy="246221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wrap="square" lIns="108000" tIns="0" rIns="0" bIns="0" anchor="ctr">
              <a:spAutoFit/>
            </a:bodyPr>
            <a:lstStyle/>
            <a:p>
              <a:pPr marL="0" marR="0" lvl="0" indent="0" algn="l" defTabSz="914400" rtl="0" eaLnBrk="0" fontAlgn="auto" latinLnBrk="0" hangingPunct="0">
                <a:lnSpc>
                  <a:spcPct val="100000"/>
                </a:lnSpc>
                <a:spcBef>
                  <a:spcPts val="200"/>
                </a:spcBef>
                <a:spcAft>
                  <a:spcPts val="2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600" b="1" i="0" u="none" strike="noStrike" kern="1200" cap="none" spc="0" normalizeH="0" baseline="0" dirty="0" err="1">
                  <a:ln>
                    <a:noFill/>
                  </a:ln>
                  <a:solidFill>
                    <a:schemeClr val="accent2">
                      <a:lumMod val="50000"/>
                    </a:schemeClr>
                  </a:solidFill>
                  <a:effectLst/>
                  <a:uLnTx/>
                  <a:uFillTx/>
                  <a:latin typeface="Arial Black" panose="020B0A04020102020204" pitchFamily="34" charset="0"/>
                  <a:ea typeface="+mn-ea"/>
                  <a:cs typeface="+mn-cs"/>
                </a:rPr>
                <a:t>Allocator</a:t>
              </a:r>
              <a:r>
                <a:rPr kumimoji="0" lang="de-DE" sz="1600" b="1" i="0" u="none" strike="noStrike" kern="1200" cap="none" spc="0" normalizeH="0" baseline="0" dirty="0">
                  <a:ln>
                    <a:noFill/>
                  </a:ln>
                  <a:solidFill>
                    <a:schemeClr val="accent2">
                      <a:lumMod val="50000"/>
                    </a:schemeClr>
                  </a:solidFill>
                  <a:effectLst/>
                  <a:uLnTx/>
                  <a:uFillTx/>
                  <a:latin typeface="Arial Black" panose="020B0A04020102020204" pitchFamily="34" charset="0"/>
                  <a:ea typeface="+mn-ea"/>
                  <a:cs typeface="+mn-cs"/>
                </a:rPr>
                <a:t> weiterentwickeln</a:t>
              </a:r>
            </a:p>
          </p:txBody>
        </p:sp>
        <p:cxnSp>
          <p:nvCxnSpPr>
            <p:cNvPr id="36" name="Straight Arrow Connector 35">
              <a:extLst>
                <a:ext uri="{FF2B5EF4-FFF2-40B4-BE49-F238E27FC236}">
                  <a16:creationId xmlns:a16="http://schemas.microsoft.com/office/drawing/2014/main" id="{2241D7A1-7710-4ADA-B62C-2E8F177C8802}"/>
                </a:ext>
              </a:extLst>
            </p:cNvPr>
            <p:cNvCxnSpPr>
              <a:cxnSpLocks/>
            </p:cNvCxnSpPr>
            <p:nvPr/>
          </p:nvCxnSpPr>
          <p:spPr>
            <a:xfrm>
              <a:off x="7645092" y="1834130"/>
              <a:ext cx="919667" cy="0"/>
            </a:xfrm>
            <a:prstGeom prst="straightConnector1">
              <a:avLst/>
            </a:prstGeom>
            <a:ln w="28575">
              <a:solidFill>
                <a:schemeClr val="accent2"/>
              </a:solidFill>
              <a:headEnd type="none" w="med" len="med"/>
              <a:tailEnd type="arrow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FEB65DDD-E283-4633-B053-1FF92D8D560D}"/>
                </a:ext>
              </a:extLst>
            </p:cNvPr>
            <p:cNvGrpSpPr/>
            <p:nvPr/>
          </p:nvGrpSpPr>
          <p:grpSpPr>
            <a:xfrm>
              <a:off x="3499569" y="3109218"/>
              <a:ext cx="1150433" cy="1150733"/>
              <a:chOff x="3237406" y="3640314"/>
              <a:chExt cx="1150433" cy="1150733"/>
            </a:xfrm>
          </p:grpSpPr>
          <p:sp>
            <p:nvSpPr>
              <p:cNvPr id="34" name="Oval 33">
                <a:extLst>
                  <a:ext uri="{FF2B5EF4-FFF2-40B4-BE49-F238E27FC236}">
                    <a16:creationId xmlns:a16="http://schemas.microsoft.com/office/drawing/2014/main" id="{AC22CF4E-7815-4349-8562-77B2B2B37547}"/>
                  </a:ext>
                </a:extLst>
              </p:cNvPr>
              <p:cNvSpPr/>
              <p:nvPr/>
            </p:nvSpPr>
            <p:spPr>
              <a:xfrm rot="623184">
                <a:off x="3237406" y="3640314"/>
                <a:ext cx="1150433" cy="1150733"/>
              </a:xfrm>
              <a:prstGeom prst="ellipse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219419" tIns="109710" rIns="219419" bIns="10971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bg-BG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35" name="Oval 34">
                <a:extLst>
                  <a:ext uri="{FF2B5EF4-FFF2-40B4-BE49-F238E27FC236}">
                    <a16:creationId xmlns:a16="http://schemas.microsoft.com/office/drawing/2014/main" id="{1766FD08-CB59-4200-B00A-1DE7DF6B4028}"/>
                  </a:ext>
                </a:extLst>
              </p:cNvPr>
              <p:cNvSpPr/>
              <p:nvPr/>
            </p:nvSpPr>
            <p:spPr>
              <a:xfrm rot="623184">
                <a:off x="3330365" y="3733297"/>
                <a:ext cx="964514" cy="964766"/>
              </a:xfrm>
              <a:prstGeom prst="ellipse">
                <a:avLst/>
              </a:prstGeom>
              <a:solidFill>
                <a:schemeClr val="accent2">
                  <a:lumMod val="5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219419" tIns="109710" rIns="219419" bIns="10971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bg-BG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grpSp>
            <p:nvGrpSpPr>
              <p:cNvPr id="57" name="Group 4">
                <a:extLst>
                  <a:ext uri="{FF2B5EF4-FFF2-40B4-BE49-F238E27FC236}">
                    <a16:creationId xmlns:a16="http://schemas.microsoft.com/office/drawing/2014/main" id="{BDD01335-7988-4019-9AC4-AEF47DF133EE}"/>
                  </a:ext>
                </a:extLst>
              </p:cNvPr>
              <p:cNvGrpSpPr>
                <a:grpSpLocks noChangeAspect="1"/>
              </p:cNvGrpSpPr>
              <p:nvPr/>
            </p:nvGrpSpPr>
            <p:grpSpPr bwMode="auto">
              <a:xfrm>
                <a:off x="3598309" y="4001959"/>
                <a:ext cx="428626" cy="427442"/>
                <a:chOff x="380" y="473"/>
                <a:chExt cx="362" cy="361"/>
              </a:xfrm>
              <a:solidFill>
                <a:schemeClr val="bg1"/>
              </a:solidFill>
            </p:grpSpPr>
            <p:sp>
              <p:nvSpPr>
                <p:cNvPr id="58" name="Freeform 5">
                  <a:extLst>
                    <a:ext uri="{FF2B5EF4-FFF2-40B4-BE49-F238E27FC236}">
                      <a16:creationId xmlns:a16="http://schemas.microsoft.com/office/drawing/2014/main" id="{5BB4A6D8-9AAC-43CA-B05C-7E5DCE9A08E4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545" y="473"/>
                  <a:ext cx="197" cy="197"/>
                </a:xfrm>
                <a:custGeom>
                  <a:avLst/>
                  <a:gdLst>
                    <a:gd name="T0" fmla="*/ 11 w 133"/>
                    <a:gd name="T1" fmla="*/ 111 h 133"/>
                    <a:gd name="T2" fmla="*/ 0 w 133"/>
                    <a:gd name="T3" fmla="*/ 122 h 133"/>
                    <a:gd name="T4" fmla="*/ 11 w 133"/>
                    <a:gd name="T5" fmla="*/ 133 h 133"/>
                    <a:gd name="T6" fmla="*/ 22 w 133"/>
                    <a:gd name="T7" fmla="*/ 122 h 133"/>
                    <a:gd name="T8" fmla="*/ 21 w 133"/>
                    <a:gd name="T9" fmla="*/ 120 h 133"/>
                    <a:gd name="T10" fmla="*/ 73 w 133"/>
                    <a:gd name="T11" fmla="*/ 68 h 133"/>
                    <a:gd name="T12" fmla="*/ 99 w 133"/>
                    <a:gd name="T13" fmla="*/ 68 h 133"/>
                    <a:gd name="T14" fmla="*/ 103 w 133"/>
                    <a:gd name="T15" fmla="*/ 67 h 133"/>
                    <a:gd name="T16" fmla="*/ 131 w 133"/>
                    <a:gd name="T17" fmla="*/ 39 h 133"/>
                    <a:gd name="T18" fmla="*/ 132 w 133"/>
                    <a:gd name="T19" fmla="*/ 32 h 133"/>
                    <a:gd name="T20" fmla="*/ 126 w 133"/>
                    <a:gd name="T21" fmla="*/ 28 h 133"/>
                    <a:gd name="T22" fmla="*/ 105 w 133"/>
                    <a:gd name="T23" fmla="*/ 28 h 133"/>
                    <a:gd name="T24" fmla="*/ 105 w 133"/>
                    <a:gd name="T25" fmla="*/ 7 h 133"/>
                    <a:gd name="T26" fmla="*/ 101 w 133"/>
                    <a:gd name="T27" fmla="*/ 1 h 133"/>
                    <a:gd name="T28" fmla="*/ 94 w 133"/>
                    <a:gd name="T29" fmla="*/ 2 h 133"/>
                    <a:gd name="T30" fmla="*/ 66 w 133"/>
                    <a:gd name="T31" fmla="*/ 30 h 133"/>
                    <a:gd name="T32" fmla="*/ 64 w 133"/>
                    <a:gd name="T33" fmla="*/ 34 h 133"/>
                    <a:gd name="T34" fmla="*/ 64 w 133"/>
                    <a:gd name="T35" fmla="*/ 59 h 133"/>
                    <a:gd name="T36" fmla="*/ 12 w 133"/>
                    <a:gd name="T37" fmla="*/ 111 h 133"/>
                    <a:gd name="T38" fmla="*/ 11 w 133"/>
                    <a:gd name="T39" fmla="*/ 111 h 133"/>
                    <a:gd name="T40" fmla="*/ 94 w 133"/>
                    <a:gd name="T41" fmla="*/ 39 h 133"/>
                    <a:gd name="T42" fmla="*/ 99 w 133"/>
                    <a:gd name="T43" fmla="*/ 41 h 133"/>
                    <a:gd name="T44" fmla="*/ 111 w 133"/>
                    <a:gd name="T45" fmla="*/ 41 h 133"/>
                    <a:gd name="T46" fmla="*/ 96 w 133"/>
                    <a:gd name="T47" fmla="*/ 56 h 133"/>
                    <a:gd name="T48" fmla="*/ 77 w 133"/>
                    <a:gd name="T49" fmla="*/ 56 h 133"/>
                    <a:gd name="T50" fmla="*/ 77 w 133"/>
                    <a:gd name="T51" fmla="*/ 37 h 133"/>
                    <a:gd name="T52" fmla="*/ 92 w 133"/>
                    <a:gd name="T53" fmla="*/ 22 h 133"/>
                    <a:gd name="T54" fmla="*/ 92 w 133"/>
                    <a:gd name="T55" fmla="*/ 34 h 133"/>
                    <a:gd name="T56" fmla="*/ 94 w 133"/>
                    <a:gd name="T57" fmla="*/ 39 h 13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</a:cxnLst>
                  <a:rect l="0" t="0" r="r" b="b"/>
                  <a:pathLst>
                    <a:path w="133" h="133">
                      <a:moveTo>
                        <a:pt x="11" y="111"/>
                      </a:moveTo>
                      <a:cubicBezTo>
                        <a:pt x="5" y="111"/>
                        <a:pt x="0" y="116"/>
                        <a:pt x="0" y="122"/>
                      </a:cubicBezTo>
                      <a:cubicBezTo>
                        <a:pt x="0" y="128"/>
                        <a:pt x="5" y="133"/>
                        <a:pt x="11" y="133"/>
                      </a:cubicBezTo>
                      <a:cubicBezTo>
                        <a:pt x="17" y="133"/>
                        <a:pt x="22" y="128"/>
                        <a:pt x="22" y="122"/>
                      </a:cubicBezTo>
                      <a:cubicBezTo>
                        <a:pt x="22" y="122"/>
                        <a:pt x="22" y="121"/>
                        <a:pt x="21" y="120"/>
                      </a:cubicBezTo>
                      <a:cubicBezTo>
                        <a:pt x="73" y="68"/>
                        <a:pt x="73" y="68"/>
                        <a:pt x="73" y="68"/>
                      </a:cubicBezTo>
                      <a:cubicBezTo>
                        <a:pt x="99" y="68"/>
                        <a:pt x="99" y="68"/>
                        <a:pt x="99" y="68"/>
                      </a:cubicBezTo>
                      <a:cubicBezTo>
                        <a:pt x="100" y="68"/>
                        <a:pt x="102" y="68"/>
                        <a:pt x="103" y="67"/>
                      </a:cubicBezTo>
                      <a:cubicBezTo>
                        <a:pt x="131" y="39"/>
                        <a:pt x="131" y="39"/>
                        <a:pt x="131" y="39"/>
                      </a:cubicBezTo>
                      <a:cubicBezTo>
                        <a:pt x="133" y="37"/>
                        <a:pt x="133" y="34"/>
                        <a:pt x="132" y="32"/>
                      </a:cubicBezTo>
                      <a:cubicBezTo>
                        <a:pt x="131" y="30"/>
                        <a:pt x="129" y="28"/>
                        <a:pt x="126" y="28"/>
                      </a:cubicBezTo>
                      <a:cubicBezTo>
                        <a:pt x="105" y="28"/>
                        <a:pt x="105" y="28"/>
                        <a:pt x="105" y="28"/>
                      </a:cubicBezTo>
                      <a:cubicBezTo>
                        <a:pt x="105" y="7"/>
                        <a:pt x="105" y="7"/>
                        <a:pt x="105" y="7"/>
                      </a:cubicBezTo>
                      <a:cubicBezTo>
                        <a:pt x="105" y="4"/>
                        <a:pt x="103" y="2"/>
                        <a:pt x="101" y="1"/>
                      </a:cubicBezTo>
                      <a:cubicBezTo>
                        <a:pt x="99" y="0"/>
                        <a:pt x="96" y="0"/>
                        <a:pt x="94" y="2"/>
                      </a:cubicBezTo>
                      <a:cubicBezTo>
                        <a:pt x="66" y="30"/>
                        <a:pt x="66" y="30"/>
                        <a:pt x="66" y="30"/>
                      </a:cubicBezTo>
                      <a:cubicBezTo>
                        <a:pt x="65" y="31"/>
                        <a:pt x="64" y="33"/>
                        <a:pt x="64" y="34"/>
                      </a:cubicBezTo>
                      <a:cubicBezTo>
                        <a:pt x="64" y="59"/>
                        <a:pt x="64" y="59"/>
                        <a:pt x="64" y="59"/>
                      </a:cubicBezTo>
                      <a:cubicBezTo>
                        <a:pt x="12" y="111"/>
                        <a:pt x="12" y="111"/>
                        <a:pt x="12" y="111"/>
                      </a:cubicBezTo>
                      <a:cubicBezTo>
                        <a:pt x="12" y="111"/>
                        <a:pt x="11" y="111"/>
                        <a:pt x="11" y="111"/>
                      </a:cubicBezTo>
                      <a:close/>
                      <a:moveTo>
                        <a:pt x="94" y="39"/>
                      </a:moveTo>
                      <a:cubicBezTo>
                        <a:pt x="95" y="40"/>
                        <a:pt x="97" y="41"/>
                        <a:pt x="99" y="41"/>
                      </a:cubicBezTo>
                      <a:cubicBezTo>
                        <a:pt x="111" y="41"/>
                        <a:pt x="111" y="41"/>
                        <a:pt x="111" y="41"/>
                      </a:cubicBezTo>
                      <a:cubicBezTo>
                        <a:pt x="96" y="56"/>
                        <a:pt x="96" y="56"/>
                        <a:pt x="96" y="56"/>
                      </a:cubicBezTo>
                      <a:cubicBezTo>
                        <a:pt x="77" y="56"/>
                        <a:pt x="77" y="56"/>
                        <a:pt x="77" y="56"/>
                      </a:cubicBezTo>
                      <a:cubicBezTo>
                        <a:pt x="77" y="37"/>
                        <a:pt x="77" y="37"/>
                        <a:pt x="77" y="37"/>
                      </a:cubicBezTo>
                      <a:cubicBezTo>
                        <a:pt x="92" y="22"/>
                        <a:pt x="92" y="22"/>
                        <a:pt x="92" y="22"/>
                      </a:cubicBezTo>
                      <a:cubicBezTo>
                        <a:pt x="92" y="34"/>
                        <a:pt x="92" y="34"/>
                        <a:pt x="92" y="34"/>
                      </a:cubicBezTo>
                      <a:cubicBezTo>
                        <a:pt x="92" y="36"/>
                        <a:pt x="93" y="38"/>
                        <a:pt x="94" y="3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AU"/>
                </a:p>
              </p:txBody>
            </p:sp>
            <p:sp>
              <p:nvSpPr>
                <p:cNvPr id="59" name="Freeform 6">
                  <a:extLst>
                    <a:ext uri="{FF2B5EF4-FFF2-40B4-BE49-F238E27FC236}">
                      <a16:creationId xmlns:a16="http://schemas.microsoft.com/office/drawing/2014/main" id="{EDF3AEBC-C84E-4E3B-9F37-80FFEAB04F5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35" y="528"/>
                  <a:ext cx="252" cy="251"/>
                </a:xfrm>
                <a:custGeom>
                  <a:avLst/>
                  <a:gdLst>
                    <a:gd name="T0" fmla="*/ 123 w 170"/>
                    <a:gd name="T1" fmla="*/ 16 h 170"/>
                    <a:gd name="T2" fmla="*/ 120 w 170"/>
                    <a:gd name="T3" fmla="*/ 8 h 170"/>
                    <a:gd name="T4" fmla="*/ 119 w 170"/>
                    <a:gd name="T5" fmla="*/ 8 h 170"/>
                    <a:gd name="T6" fmla="*/ 85 w 170"/>
                    <a:gd name="T7" fmla="*/ 0 h 170"/>
                    <a:gd name="T8" fmla="*/ 0 w 170"/>
                    <a:gd name="T9" fmla="*/ 85 h 170"/>
                    <a:gd name="T10" fmla="*/ 85 w 170"/>
                    <a:gd name="T11" fmla="*/ 170 h 170"/>
                    <a:gd name="T12" fmla="*/ 170 w 170"/>
                    <a:gd name="T13" fmla="*/ 85 h 170"/>
                    <a:gd name="T14" fmla="*/ 162 w 170"/>
                    <a:gd name="T15" fmla="*/ 50 h 170"/>
                    <a:gd name="T16" fmla="*/ 158 w 170"/>
                    <a:gd name="T17" fmla="*/ 47 h 170"/>
                    <a:gd name="T18" fmla="*/ 154 w 170"/>
                    <a:gd name="T19" fmla="*/ 47 h 170"/>
                    <a:gd name="T20" fmla="*/ 150 w 170"/>
                    <a:gd name="T21" fmla="*/ 51 h 170"/>
                    <a:gd name="T22" fmla="*/ 151 w 170"/>
                    <a:gd name="T23" fmla="*/ 55 h 170"/>
                    <a:gd name="T24" fmla="*/ 157 w 170"/>
                    <a:gd name="T25" fmla="*/ 85 h 170"/>
                    <a:gd name="T26" fmla="*/ 85 w 170"/>
                    <a:gd name="T27" fmla="*/ 158 h 170"/>
                    <a:gd name="T28" fmla="*/ 12 w 170"/>
                    <a:gd name="T29" fmla="*/ 85 h 170"/>
                    <a:gd name="T30" fmla="*/ 85 w 170"/>
                    <a:gd name="T31" fmla="*/ 13 h 170"/>
                    <a:gd name="T32" fmla="*/ 114 w 170"/>
                    <a:gd name="T33" fmla="*/ 19 h 170"/>
                    <a:gd name="T34" fmla="*/ 123 w 170"/>
                    <a:gd name="T35" fmla="*/ 16 h 17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</a:cxnLst>
                  <a:rect l="0" t="0" r="r" b="b"/>
                  <a:pathLst>
                    <a:path w="170" h="170">
                      <a:moveTo>
                        <a:pt x="123" y="16"/>
                      </a:moveTo>
                      <a:cubicBezTo>
                        <a:pt x="124" y="13"/>
                        <a:pt x="123" y="9"/>
                        <a:pt x="120" y="8"/>
                      </a:cubicBezTo>
                      <a:cubicBezTo>
                        <a:pt x="119" y="8"/>
                        <a:pt x="119" y="8"/>
                        <a:pt x="119" y="8"/>
                      </a:cubicBezTo>
                      <a:cubicBezTo>
                        <a:pt x="108" y="3"/>
                        <a:pt x="97" y="0"/>
                        <a:pt x="85" y="0"/>
                      </a:cubicBezTo>
                      <a:cubicBezTo>
                        <a:pt x="38" y="0"/>
                        <a:pt x="0" y="38"/>
                        <a:pt x="0" y="85"/>
                      </a:cubicBezTo>
                      <a:cubicBezTo>
                        <a:pt x="0" y="132"/>
                        <a:pt x="38" y="170"/>
                        <a:pt x="85" y="170"/>
                      </a:cubicBezTo>
                      <a:cubicBezTo>
                        <a:pt x="131" y="170"/>
                        <a:pt x="170" y="132"/>
                        <a:pt x="170" y="85"/>
                      </a:cubicBezTo>
                      <a:cubicBezTo>
                        <a:pt x="170" y="73"/>
                        <a:pt x="167" y="61"/>
                        <a:pt x="162" y="50"/>
                      </a:cubicBezTo>
                      <a:cubicBezTo>
                        <a:pt x="161" y="49"/>
                        <a:pt x="160" y="48"/>
                        <a:pt x="158" y="47"/>
                      </a:cubicBezTo>
                      <a:cubicBezTo>
                        <a:pt x="157" y="46"/>
                        <a:pt x="155" y="46"/>
                        <a:pt x="154" y="47"/>
                      </a:cubicBezTo>
                      <a:cubicBezTo>
                        <a:pt x="152" y="48"/>
                        <a:pt x="151" y="49"/>
                        <a:pt x="150" y="51"/>
                      </a:cubicBezTo>
                      <a:cubicBezTo>
                        <a:pt x="150" y="52"/>
                        <a:pt x="150" y="54"/>
                        <a:pt x="151" y="55"/>
                      </a:cubicBezTo>
                      <a:cubicBezTo>
                        <a:pt x="155" y="65"/>
                        <a:pt x="157" y="75"/>
                        <a:pt x="157" y="85"/>
                      </a:cubicBezTo>
                      <a:cubicBezTo>
                        <a:pt x="157" y="125"/>
                        <a:pt x="124" y="158"/>
                        <a:pt x="85" y="158"/>
                      </a:cubicBezTo>
                      <a:cubicBezTo>
                        <a:pt x="45" y="158"/>
                        <a:pt x="12" y="125"/>
                        <a:pt x="12" y="85"/>
                      </a:cubicBezTo>
                      <a:cubicBezTo>
                        <a:pt x="12" y="45"/>
                        <a:pt x="45" y="13"/>
                        <a:pt x="85" y="13"/>
                      </a:cubicBezTo>
                      <a:cubicBezTo>
                        <a:pt x="95" y="13"/>
                        <a:pt x="105" y="15"/>
                        <a:pt x="114" y="19"/>
                      </a:cubicBezTo>
                      <a:cubicBezTo>
                        <a:pt x="118" y="21"/>
                        <a:pt x="121" y="19"/>
                        <a:pt x="123" y="16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AU"/>
                </a:p>
              </p:txBody>
            </p:sp>
            <p:sp>
              <p:nvSpPr>
                <p:cNvPr id="60" name="Freeform 7">
                  <a:extLst>
                    <a:ext uri="{FF2B5EF4-FFF2-40B4-BE49-F238E27FC236}">
                      <a16:creationId xmlns:a16="http://schemas.microsoft.com/office/drawing/2014/main" id="{B7BD31A5-2EA2-43DE-B244-F71C8A6BEDF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90" y="583"/>
                  <a:ext cx="142" cy="141"/>
                </a:xfrm>
                <a:custGeom>
                  <a:avLst/>
                  <a:gdLst>
                    <a:gd name="T0" fmla="*/ 48 w 96"/>
                    <a:gd name="T1" fmla="*/ 13 h 96"/>
                    <a:gd name="T2" fmla="*/ 55 w 96"/>
                    <a:gd name="T3" fmla="*/ 14 h 96"/>
                    <a:gd name="T4" fmla="*/ 63 w 96"/>
                    <a:gd name="T5" fmla="*/ 9 h 96"/>
                    <a:gd name="T6" fmla="*/ 58 w 96"/>
                    <a:gd name="T7" fmla="*/ 2 h 96"/>
                    <a:gd name="T8" fmla="*/ 48 w 96"/>
                    <a:gd name="T9" fmla="*/ 0 h 96"/>
                    <a:gd name="T10" fmla="*/ 0 w 96"/>
                    <a:gd name="T11" fmla="*/ 48 h 96"/>
                    <a:gd name="T12" fmla="*/ 48 w 96"/>
                    <a:gd name="T13" fmla="*/ 96 h 96"/>
                    <a:gd name="T14" fmla="*/ 96 w 96"/>
                    <a:gd name="T15" fmla="*/ 48 h 96"/>
                    <a:gd name="T16" fmla="*/ 94 w 96"/>
                    <a:gd name="T17" fmla="*/ 38 h 96"/>
                    <a:gd name="T18" fmla="*/ 92 w 96"/>
                    <a:gd name="T19" fmla="*/ 34 h 96"/>
                    <a:gd name="T20" fmla="*/ 87 w 96"/>
                    <a:gd name="T21" fmla="*/ 33 h 96"/>
                    <a:gd name="T22" fmla="*/ 83 w 96"/>
                    <a:gd name="T23" fmla="*/ 36 h 96"/>
                    <a:gd name="T24" fmla="*/ 82 w 96"/>
                    <a:gd name="T25" fmla="*/ 40 h 96"/>
                    <a:gd name="T26" fmla="*/ 83 w 96"/>
                    <a:gd name="T27" fmla="*/ 48 h 96"/>
                    <a:gd name="T28" fmla="*/ 48 w 96"/>
                    <a:gd name="T29" fmla="*/ 84 h 96"/>
                    <a:gd name="T30" fmla="*/ 12 w 96"/>
                    <a:gd name="T31" fmla="*/ 48 h 96"/>
                    <a:gd name="T32" fmla="*/ 48 w 96"/>
                    <a:gd name="T33" fmla="*/ 13 h 9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96" h="96">
                      <a:moveTo>
                        <a:pt x="48" y="13"/>
                      </a:moveTo>
                      <a:cubicBezTo>
                        <a:pt x="50" y="13"/>
                        <a:pt x="53" y="13"/>
                        <a:pt x="55" y="14"/>
                      </a:cubicBezTo>
                      <a:cubicBezTo>
                        <a:pt x="59" y="15"/>
                        <a:pt x="62" y="12"/>
                        <a:pt x="63" y="9"/>
                      </a:cubicBezTo>
                      <a:cubicBezTo>
                        <a:pt x="64" y="6"/>
                        <a:pt x="62" y="2"/>
                        <a:pt x="58" y="2"/>
                      </a:cubicBezTo>
                      <a:cubicBezTo>
                        <a:pt x="55" y="1"/>
                        <a:pt x="51" y="0"/>
                        <a:pt x="48" y="0"/>
                      </a:cubicBezTo>
                      <a:cubicBezTo>
                        <a:pt x="21" y="0"/>
                        <a:pt x="0" y="22"/>
                        <a:pt x="0" y="48"/>
                      </a:cubicBezTo>
                      <a:cubicBezTo>
                        <a:pt x="0" y="75"/>
                        <a:pt x="21" y="96"/>
                        <a:pt x="48" y="96"/>
                      </a:cubicBezTo>
                      <a:cubicBezTo>
                        <a:pt x="74" y="96"/>
                        <a:pt x="96" y="75"/>
                        <a:pt x="96" y="48"/>
                      </a:cubicBezTo>
                      <a:cubicBezTo>
                        <a:pt x="96" y="45"/>
                        <a:pt x="95" y="41"/>
                        <a:pt x="94" y="38"/>
                      </a:cubicBezTo>
                      <a:cubicBezTo>
                        <a:pt x="94" y="36"/>
                        <a:pt x="93" y="35"/>
                        <a:pt x="92" y="34"/>
                      </a:cubicBezTo>
                      <a:cubicBezTo>
                        <a:pt x="90" y="33"/>
                        <a:pt x="88" y="32"/>
                        <a:pt x="87" y="33"/>
                      </a:cubicBezTo>
                      <a:cubicBezTo>
                        <a:pt x="85" y="33"/>
                        <a:pt x="84" y="34"/>
                        <a:pt x="83" y="36"/>
                      </a:cubicBezTo>
                      <a:cubicBezTo>
                        <a:pt x="82" y="37"/>
                        <a:pt x="82" y="39"/>
                        <a:pt x="82" y="40"/>
                      </a:cubicBezTo>
                      <a:cubicBezTo>
                        <a:pt x="83" y="43"/>
                        <a:pt x="83" y="46"/>
                        <a:pt x="83" y="48"/>
                      </a:cubicBezTo>
                      <a:cubicBezTo>
                        <a:pt x="83" y="68"/>
                        <a:pt x="67" y="84"/>
                        <a:pt x="48" y="84"/>
                      </a:cubicBezTo>
                      <a:cubicBezTo>
                        <a:pt x="28" y="84"/>
                        <a:pt x="12" y="68"/>
                        <a:pt x="12" y="48"/>
                      </a:cubicBezTo>
                      <a:cubicBezTo>
                        <a:pt x="12" y="29"/>
                        <a:pt x="28" y="13"/>
                        <a:pt x="48" y="13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AU"/>
                </a:p>
              </p:txBody>
            </p:sp>
            <p:sp>
              <p:nvSpPr>
                <p:cNvPr id="61" name="Freeform 8">
                  <a:extLst>
                    <a:ext uri="{FF2B5EF4-FFF2-40B4-BE49-F238E27FC236}">
                      <a16:creationId xmlns:a16="http://schemas.microsoft.com/office/drawing/2014/main" id="{9012BF89-42F5-4627-8BFC-8A378A75CBE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80" y="473"/>
                  <a:ext cx="362" cy="361"/>
                </a:xfrm>
                <a:custGeom>
                  <a:avLst/>
                  <a:gdLst>
                    <a:gd name="T0" fmla="*/ 234 w 244"/>
                    <a:gd name="T1" fmla="*/ 74 h 244"/>
                    <a:gd name="T2" fmla="*/ 230 w 244"/>
                    <a:gd name="T3" fmla="*/ 70 h 244"/>
                    <a:gd name="T4" fmla="*/ 225 w 244"/>
                    <a:gd name="T5" fmla="*/ 70 h 244"/>
                    <a:gd name="T6" fmla="*/ 222 w 244"/>
                    <a:gd name="T7" fmla="*/ 79 h 244"/>
                    <a:gd name="T8" fmla="*/ 231 w 244"/>
                    <a:gd name="T9" fmla="*/ 122 h 244"/>
                    <a:gd name="T10" fmla="*/ 122 w 244"/>
                    <a:gd name="T11" fmla="*/ 232 h 244"/>
                    <a:gd name="T12" fmla="*/ 12 w 244"/>
                    <a:gd name="T13" fmla="*/ 122 h 244"/>
                    <a:gd name="T14" fmla="*/ 122 w 244"/>
                    <a:gd name="T15" fmla="*/ 13 h 244"/>
                    <a:gd name="T16" fmla="*/ 165 w 244"/>
                    <a:gd name="T17" fmla="*/ 22 h 244"/>
                    <a:gd name="T18" fmla="*/ 170 w 244"/>
                    <a:gd name="T19" fmla="*/ 22 h 244"/>
                    <a:gd name="T20" fmla="*/ 173 w 244"/>
                    <a:gd name="T21" fmla="*/ 19 h 244"/>
                    <a:gd name="T22" fmla="*/ 174 w 244"/>
                    <a:gd name="T23" fmla="*/ 14 h 244"/>
                    <a:gd name="T24" fmla="*/ 170 w 244"/>
                    <a:gd name="T25" fmla="*/ 10 h 244"/>
                    <a:gd name="T26" fmla="*/ 122 w 244"/>
                    <a:gd name="T27" fmla="*/ 0 h 244"/>
                    <a:gd name="T28" fmla="*/ 0 w 244"/>
                    <a:gd name="T29" fmla="*/ 122 h 244"/>
                    <a:gd name="T30" fmla="*/ 122 w 244"/>
                    <a:gd name="T31" fmla="*/ 244 h 244"/>
                    <a:gd name="T32" fmla="*/ 244 w 244"/>
                    <a:gd name="T33" fmla="*/ 122 h 244"/>
                    <a:gd name="T34" fmla="*/ 234 w 244"/>
                    <a:gd name="T35" fmla="*/ 74 h 24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</a:cxnLst>
                  <a:rect l="0" t="0" r="r" b="b"/>
                  <a:pathLst>
                    <a:path w="244" h="244">
                      <a:moveTo>
                        <a:pt x="234" y="74"/>
                      </a:moveTo>
                      <a:cubicBezTo>
                        <a:pt x="233" y="72"/>
                        <a:pt x="232" y="71"/>
                        <a:pt x="230" y="70"/>
                      </a:cubicBezTo>
                      <a:cubicBezTo>
                        <a:pt x="229" y="70"/>
                        <a:pt x="227" y="70"/>
                        <a:pt x="225" y="70"/>
                      </a:cubicBezTo>
                      <a:cubicBezTo>
                        <a:pt x="222" y="72"/>
                        <a:pt x="221" y="76"/>
                        <a:pt x="222" y="79"/>
                      </a:cubicBezTo>
                      <a:cubicBezTo>
                        <a:pt x="228" y="93"/>
                        <a:pt x="231" y="107"/>
                        <a:pt x="231" y="122"/>
                      </a:cubicBezTo>
                      <a:cubicBezTo>
                        <a:pt x="231" y="182"/>
                        <a:pt x="182" y="232"/>
                        <a:pt x="122" y="232"/>
                      </a:cubicBezTo>
                      <a:cubicBezTo>
                        <a:pt x="61" y="232"/>
                        <a:pt x="12" y="182"/>
                        <a:pt x="12" y="122"/>
                      </a:cubicBezTo>
                      <a:cubicBezTo>
                        <a:pt x="12" y="62"/>
                        <a:pt x="61" y="13"/>
                        <a:pt x="122" y="13"/>
                      </a:cubicBezTo>
                      <a:cubicBezTo>
                        <a:pt x="137" y="13"/>
                        <a:pt x="151" y="16"/>
                        <a:pt x="165" y="22"/>
                      </a:cubicBezTo>
                      <a:cubicBezTo>
                        <a:pt x="167" y="23"/>
                        <a:pt x="168" y="23"/>
                        <a:pt x="170" y="22"/>
                      </a:cubicBezTo>
                      <a:cubicBezTo>
                        <a:pt x="172" y="21"/>
                        <a:pt x="173" y="20"/>
                        <a:pt x="173" y="19"/>
                      </a:cubicBezTo>
                      <a:cubicBezTo>
                        <a:pt x="174" y="17"/>
                        <a:pt x="174" y="15"/>
                        <a:pt x="174" y="14"/>
                      </a:cubicBezTo>
                      <a:cubicBezTo>
                        <a:pt x="173" y="12"/>
                        <a:pt x="172" y="11"/>
                        <a:pt x="170" y="10"/>
                      </a:cubicBezTo>
                      <a:cubicBezTo>
                        <a:pt x="155" y="4"/>
                        <a:pt x="138" y="0"/>
                        <a:pt x="122" y="0"/>
                      </a:cubicBezTo>
                      <a:cubicBezTo>
                        <a:pt x="54" y="0"/>
                        <a:pt x="0" y="55"/>
                        <a:pt x="0" y="122"/>
                      </a:cubicBezTo>
                      <a:cubicBezTo>
                        <a:pt x="0" y="189"/>
                        <a:pt x="54" y="244"/>
                        <a:pt x="122" y="244"/>
                      </a:cubicBezTo>
                      <a:cubicBezTo>
                        <a:pt x="189" y="244"/>
                        <a:pt x="244" y="189"/>
                        <a:pt x="244" y="122"/>
                      </a:cubicBezTo>
                      <a:cubicBezTo>
                        <a:pt x="244" y="105"/>
                        <a:pt x="240" y="89"/>
                        <a:pt x="234" y="74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AU"/>
                </a:p>
              </p:txBody>
            </p:sp>
          </p:grpSp>
        </p:grpSp>
        <p:grpSp>
          <p:nvGrpSpPr>
            <p:cNvPr id="7" name="Group 6">
              <a:extLst>
                <a:ext uri="{FF2B5EF4-FFF2-40B4-BE49-F238E27FC236}">
                  <a16:creationId xmlns:a16="http://schemas.microsoft.com/office/drawing/2014/main" id="{5AF88BC8-0E70-48BC-88D1-FE1694474E50}"/>
                </a:ext>
              </a:extLst>
            </p:cNvPr>
            <p:cNvGrpSpPr/>
            <p:nvPr/>
          </p:nvGrpSpPr>
          <p:grpSpPr>
            <a:xfrm>
              <a:off x="1997312" y="4034445"/>
              <a:ext cx="1150433" cy="1150733"/>
              <a:chOff x="1674169" y="4521362"/>
              <a:chExt cx="1150433" cy="1150733"/>
            </a:xfrm>
          </p:grpSpPr>
          <p:sp>
            <p:nvSpPr>
              <p:cNvPr id="30" name="Oval 29">
                <a:extLst>
                  <a:ext uri="{FF2B5EF4-FFF2-40B4-BE49-F238E27FC236}">
                    <a16:creationId xmlns:a16="http://schemas.microsoft.com/office/drawing/2014/main" id="{6AF3FF4D-B96D-4F14-ADC6-1E22118473AF}"/>
                  </a:ext>
                </a:extLst>
              </p:cNvPr>
              <p:cNvSpPr/>
              <p:nvPr/>
            </p:nvSpPr>
            <p:spPr>
              <a:xfrm rot="623184">
                <a:off x="1674169" y="4521362"/>
                <a:ext cx="1150433" cy="1150733"/>
              </a:xfrm>
              <a:prstGeom prst="ellipse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219419" tIns="109710" rIns="219419" bIns="10971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bg-BG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31" name="Oval 30">
                <a:extLst>
                  <a:ext uri="{FF2B5EF4-FFF2-40B4-BE49-F238E27FC236}">
                    <a16:creationId xmlns:a16="http://schemas.microsoft.com/office/drawing/2014/main" id="{E12DAF22-2063-4937-8F07-44298694B49B}"/>
                  </a:ext>
                </a:extLst>
              </p:cNvPr>
              <p:cNvSpPr/>
              <p:nvPr/>
            </p:nvSpPr>
            <p:spPr>
              <a:xfrm rot="623184">
                <a:off x="1767128" y="4614345"/>
                <a:ext cx="964514" cy="964766"/>
              </a:xfrm>
              <a:prstGeom prst="ellipse">
                <a:avLst/>
              </a:prstGeom>
              <a:solidFill>
                <a:schemeClr val="accent2">
                  <a:lumMod val="5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219419" tIns="109710" rIns="219419" bIns="10971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bg-BG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grpSp>
            <p:nvGrpSpPr>
              <p:cNvPr id="74" name="Group 163">
                <a:extLst>
                  <a:ext uri="{FF2B5EF4-FFF2-40B4-BE49-F238E27FC236}">
                    <a16:creationId xmlns:a16="http://schemas.microsoft.com/office/drawing/2014/main" id="{B26636FF-3F51-4F3F-8695-6C24A7A90102}"/>
                  </a:ext>
                </a:extLst>
              </p:cNvPr>
              <p:cNvGrpSpPr>
                <a:grpSpLocks noChangeAspect="1"/>
              </p:cNvGrpSpPr>
              <p:nvPr/>
            </p:nvGrpSpPr>
            <p:grpSpPr bwMode="auto">
              <a:xfrm>
                <a:off x="2062466" y="4854634"/>
                <a:ext cx="373838" cy="484188"/>
                <a:chOff x="4709" y="3202"/>
                <a:chExt cx="332" cy="430"/>
              </a:xfrm>
              <a:solidFill>
                <a:schemeClr val="bg1"/>
              </a:solidFill>
            </p:grpSpPr>
            <p:sp>
              <p:nvSpPr>
                <p:cNvPr id="75" name="Freeform 164">
                  <a:extLst>
                    <a:ext uri="{FF2B5EF4-FFF2-40B4-BE49-F238E27FC236}">
                      <a16:creationId xmlns:a16="http://schemas.microsoft.com/office/drawing/2014/main" id="{A14F40E2-676B-490A-A58D-AA15FB8BCD9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771" y="3295"/>
                  <a:ext cx="79" cy="138"/>
                </a:xfrm>
                <a:custGeom>
                  <a:avLst/>
                  <a:gdLst>
                    <a:gd name="T0" fmla="*/ 26 w 52"/>
                    <a:gd name="T1" fmla="*/ 93 h 93"/>
                    <a:gd name="T2" fmla="*/ 0 w 52"/>
                    <a:gd name="T3" fmla="*/ 66 h 93"/>
                    <a:gd name="T4" fmla="*/ 6 w 52"/>
                    <a:gd name="T5" fmla="*/ 60 h 93"/>
                    <a:gd name="T6" fmla="*/ 12 w 52"/>
                    <a:gd name="T7" fmla="*/ 66 h 93"/>
                    <a:gd name="T8" fmla="*/ 26 w 52"/>
                    <a:gd name="T9" fmla="*/ 81 h 93"/>
                    <a:gd name="T10" fmla="*/ 40 w 52"/>
                    <a:gd name="T11" fmla="*/ 66 h 93"/>
                    <a:gd name="T12" fmla="*/ 26 w 52"/>
                    <a:gd name="T13" fmla="*/ 52 h 93"/>
                    <a:gd name="T14" fmla="*/ 0 w 52"/>
                    <a:gd name="T15" fmla="*/ 26 h 93"/>
                    <a:gd name="T16" fmla="*/ 26 w 52"/>
                    <a:gd name="T17" fmla="*/ 0 h 93"/>
                    <a:gd name="T18" fmla="*/ 52 w 52"/>
                    <a:gd name="T19" fmla="*/ 26 h 93"/>
                    <a:gd name="T20" fmla="*/ 46 w 52"/>
                    <a:gd name="T21" fmla="*/ 32 h 93"/>
                    <a:gd name="T22" fmla="*/ 40 w 52"/>
                    <a:gd name="T23" fmla="*/ 26 h 93"/>
                    <a:gd name="T24" fmla="*/ 26 w 52"/>
                    <a:gd name="T25" fmla="*/ 12 h 93"/>
                    <a:gd name="T26" fmla="*/ 12 w 52"/>
                    <a:gd name="T27" fmla="*/ 26 h 93"/>
                    <a:gd name="T28" fmla="*/ 26 w 52"/>
                    <a:gd name="T29" fmla="*/ 40 h 93"/>
                    <a:gd name="T30" fmla="*/ 52 w 52"/>
                    <a:gd name="T31" fmla="*/ 66 h 93"/>
                    <a:gd name="T32" fmla="*/ 26 w 52"/>
                    <a:gd name="T33" fmla="*/ 93 h 9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52" h="93">
                      <a:moveTo>
                        <a:pt x="26" y="93"/>
                      </a:moveTo>
                      <a:cubicBezTo>
                        <a:pt x="12" y="93"/>
                        <a:pt x="0" y="81"/>
                        <a:pt x="0" y="66"/>
                      </a:cubicBezTo>
                      <a:cubicBezTo>
                        <a:pt x="0" y="63"/>
                        <a:pt x="3" y="60"/>
                        <a:pt x="6" y="60"/>
                      </a:cubicBezTo>
                      <a:cubicBezTo>
                        <a:pt x="9" y="60"/>
                        <a:pt x="12" y="63"/>
                        <a:pt x="12" y="66"/>
                      </a:cubicBezTo>
                      <a:cubicBezTo>
                        <a:pt x="12" y="74"/>
                        <a:pt x="18" y="81"/>
                        <a:pt x="26" y="81"/>
                      </a:cubicBezTo>
                      <a:cubicBezTo>
                        <a:pt x="34" y="81"/>
                        <a:pt x="40" y="74"/>
                        <a:pt x="40" y="66"/>
                      </a:cubicBezTo>
                      <a:cubicBezTo>
                        <a:pt x="40" y="59"/>
                        <a:pt x="34" y="52"/>
                        <a:pt x="26" y="52"/>
                      </a:cubicBezTo>
                      <a:cubicBezTo>
                        <a:pt x="12" y="52"/>
                        <a:pt x="0" y="40"/>
                        <a:pt x="0" y="26"/>
                      </a:cubicBezTo>
                      <a:cubicBezTo>
                        <a:pt x="0" y="12"/>
                        <a:pt x="12" y="0"/>
                        <a:pt x="26" y="0"/>
                      </a:cubicBezTo>
                      <a:cubicBezTo>
                        <a:pt x="41" y="0"/>
                        <a:pt x="52" y="12"/>
                        <a:pt x="52" y="26"/>
                      </a:cubicBezTo>
                      <a:cubicBezTo>
                        <a:pt x="52" y="29"/>
                        <a:pt x="50" y="32"/>
                        <a:pt x="46" y="32"/>
                      </a:cubicBezTo>
                      <a:cubicBezTo>
                        <a:pt x="43" y="32"/>
                        <a:pt x="40" y="29"/>
                        <a:pt x="40" y="26"/>
                      </a:cubicBezTo>
                      <a:cubicBezTo>
                        <a:pt x="40" y="18"/>
                        <a:pt x="34" y="12"/>
                        <a:pt x="26" y="12"/>
                      </a:cubicBezTo>
                      <a:cubicBezTo>
                        <a:pt x="18" y="12"/>
                        <a:pt x="12" y="18"/>
                        <a:pt x="12" y="26"/>
                      </a:cubicBezTo>
                      <a:cubicBezTo>
                        <a:pt x="12" y="34"/>
                        <a:pt x="18" y="40"/>
                        <a:pt x="26" y="40"/>
                      </a:cubicBezTo>
                      <a:cubicBezTo>
                        <a:pt x="41" y="40"/>
                        <a:pt x="52" y="52"/>
                        <a:pt x="52" y="66"/>
                      </a:cubicBezTo>
                      <a:cubicBezTo>
                        <a:pt x="52" y="81"/>
                        <a:pt x="41" y="93"/>
                        <a:pt x="26" y="93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76" name="Freeform 165">
                  <a:extLst>
                    <a:ext uri="{FF2B5EF4-FFF2-40B4-BE49-F238E27FC236}">
                      <a16:creationId xmlns:a16="http://schemas.microsoft.com/office/drawing/2014/main" id="{564C05A5-9D22-4BA2-A2CC-6D642F31055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801" y="3416"/>
                  <a:ext cx="19" cy="37"/>
                </a:xfrm>
                <a:custGeom>
                  <a:avLst/>
                  <a:gdLst>
                    <a:gd name="T0" fmla="*/ 6 w 12"/>
                    <a:gd name="T1" fmla="*/ 25 h 25"/>
                    <a:gd name="T2" fmla="*/ 0 w 12"/>
                    <a:gd name="T3" fmla="*/ 19 h 25"/>
                    <a:gd name="T4" fmla="*/ 0 w 12"/>
                    <a:gd name="T5" fmla="*/ 6 h 25"/>
                    <a:gd name="T6" fmla="*/ 6 w 12"/>
                    <a:gd name="T7" fmla="*/ 0 h 25"/>
                    <a:gd name="T8" fmla="*/ 12 w 12"/>
                    <a:gd name="T9" fmla="*/ 6 h 25"/>
                    <a:gd name="T10" fmla="*/ 12 w 12"/>
                    <a:gd name="T11" fmla="*/ 19 h 25"/>
                    <a:gd name="T12" fmla="*/ 6 w 12"/>
                    <a:gd name="T13" fmla="*/ 25 h 2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2" h="25">
                      <a:moveTo>
                        <a:pt x="6" y="25"/>
                      </a:moveTo>
                      <a:cubicBezTo>
                        <a:pt x="3" y="25"/>
                        <a:pt x="0" y="23"/>
                        <a:pt x="0" y="19"/>
                      </a:cubicBezTo>
                      <a:cubicBezTo>
                        <a:pt x="0" y="6"/>
                        <a:pt x="0" y="6"/>
                        <a:pt x="0" y="6"/>
                      </a:cubicBezTo>
                      <a:cubicBezTo>
                        <a:pt x="0" y="2"/>
                        <a:pt x="3" y="0"/>
                        <a:pt x="6" y="0"/>
                      </a:cubicBezTo>
                      <a:cubicBezTo>
                        <a:pt x="10" y="0"/>
                        <a:pt x="12" y="2"/>
                        <a:pt x="12" y="6"/>
                      </a:cubicBezTo>
                      <a:cubicBezTo>
                        <a:pt x="12" y="19"/>
                        <a:pt x="12" y="19"/>
                        <a:pt x="12" y="19"/>
                      </a:cubicBezTo>
                      <a:cubicBezTo>
                        <a:pt x="12" y="23"/>
                        <a:pt x="10" y="25"/>
                        <a:pt x="6" y="25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77" name="Freeform 166">
                  <a:extLst>
                    <a:ext uri="{FF2B5EF4-FFF2-40B4-BE49-F238E27FC236}">
                      <a16:creationId xmlns:a16="http://schemas.microsoft.com/office/drawing/2014/main" id="{37C8D1EA-5ABB-4623-B514-F44EBB91895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801" y="3274"/>
                  <a:ext cx="19" cy="38"/>
                </a:xfrm>
                <a:custGeom>
                  <a:avLst/>
                  <a:gdLst>
                    <a:gd name="T0" fmla="*/ 6 w 12"/>
                    <a:gd name="T1" fmla="*/ 26 h 26"/>
                    <a:gd name="T2" fmla="*/ 0 w 12"/>
                    <a:gd name="T3" fmla="*/ 20 h 26"/>
                    <a:gd name="T4" fmla="*/ 0 w 12"/>
                    <a:gd name="T5" fmla="*/ 6 h 26"/>
                    <a:gd name="T6" fmla="*/ 6 w 12"/>
                    <a:gd name="T7" fmla="*/ 0 h 26"/>
                    <a:gd name="T8" fmla="*/ 12 w 12"/>
                    <a:gd name="T9" fmla="*/ 6 h 26"/>
                    <a:gd name="T10" fmla="*/ 12 w 12"/>
                    <a:gd name="T11" fmla="*/ 20 h 26"/>
                    <a:gd name="T12" fmla="*/ 6 w 12"/>
                    <a:gd name="T13" fmla="*/ 26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2" h="26">
                      <a:moveTo>
                        <a:pt x="6" y="26"/>
                      </a:moveTo>
                      <a:cubicBezTo>
                        <a:pt x="3" y="26"/>
                        <a:pt x="0" y="23"/>
                        <a:pt x="0" y="20"/>
                      </a:cubicBezTo>
                      <a:cubicBezTo>
                        <a:pt x="0" y="6"/>
                        <a:pt x="0" y="6"/>
                        <a:pt x="0" y="6"/>
                      </a:cubicBezTo>
                      <a:cubicBezTo>
                        <a:pt x="0" y="3"/>
                        <a:pt x="3" y="0"/>
                        <a:pt x="6" y="0"/>
                      </a:cubicBezTo>
                      <a:cubicBezTo>
                        <a:pt x="10" y="0"/>
                        <a:pt x="12" y="3"/>
                        <a:pt x="12" y="6"/>
                      </a:cubicBezTo>
                      <a:cubicBezTo>
                        <a:pt x="12" y="20"/>
                        <a:pt x="12" y="20"/>
                        <a:pt x="12" y="20"/>
                      </a:cubicBezTo>
                      <a:cubicBezTo>
                        <a:pt x="12" y="23"/>
                        <a:pt x="10" y="26"/>
                        <a:pt x="6" y="26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78" name="Freeform 167">
                  <a:extLst>
                    <a:ext uri="{FF2B5EF4-FFF2-40B4-BE49-F238E27FC236}">
                      <a16:creationId xmlns:a16="http://schemas.microsoft.com/office/drawing/2014/main" id="{53BF2BC4-874B-41D7-8D50-97FC5C5726F3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4709" y="3202"/>
                  <a:ext cx="332" cy="430"/>
                </a:xfrm>
                <a:custGeom>
                  <a:avLst/>
                  <a:gdLst>
                    <a:gd name="T0" fmla="*/ 210 w 216"/>
                    <a:gd name="T1" fmla="*/ 288 h 288"/>
                    <a:gd name="T2" fmla="*/ 6 w 216"/>
                    <a:gd name="T3" fmla="*/ 288 h 288"/>
                    <a:gd name="T4" fmla="*/ 0 w 216"/>
                    <a:gd name="T5" fmla="*/ 282 h 288"/>
                    <a:gd name="T6" fmla="*/ 0 w 216"/>
                    <a:gd name="T7" fmla="*/ 6 h 288"/>
                    <a:gd name="T8" fmla="*/ 6 w 216"/>
                    <a:gd name="T9" fmla="*/ 0 h 288"/>
                    <a:gd name="T10" fmla="*/ 138 w 216"/>
                    <a:gd name="T11" fmla="*/ 0 h 288"/>
                    <a:gd name="T12" fmla="*/ 142 w 216"/>
                    <a:gd name="T13" fmla="*/ 2 h 288"/>
                    <a:gd name="T14" fmla="*/ 214 w 216"/>
                    <a:gd name="T15" fmla="*/ 74 h 288"/>
                    <a:gd name="T16" fmla="*/ 216 w 216"/>
                    <a:gd name="T17" fmla="*/ 78 h 288"/>
                    <a:gd name="T18" fmla="*/ 216 w 216"/>
                    <a:gd name="T19" fmla="*/ 282 h 288"/>
                    <a:gd name="T20" fmla="*/ 210 w 216"/>
                    <a:gd name="T21" fmla="*/ 288 h 288"/>
                    <a:gd name="T22" fmla="*/ 12 w 216"/>
                    <a:gd name="T23" fmla="*/ 276 h 288"/>
                    <a:gd name="T24" fmla="*/ 204 w 216"/>
                    <a:gd name="T25" fmla="*/ 276 h 288"/>
                    <a:gd name="T26" fmla="*/ 204 w 216"/>
                    <a:gd name="T27" fmla="*/ 81 h 288"/>
                    <a:gd name="T28" fmla="*/ 136 w 216"/>
                    <a:gd name="T29" fmla="*/ 12 h 288"/>
                    <a:gd name="T30" fmla="*/ 12 w 216"/>
                    <a:gd name="T31" fmla="*/ 12 h 288"/>
                    <a:gd name="T32" fmla="*/ 12 w 216"/>
                    <a:gd name="T33" fmla="*/ 276 h 28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216" h="288">
                      <a:moveTo>
                        <a:pt x="210" y="288"/>
                      </a:moveTo>
                      <a:cubicBezTo>
                        <a:pt x="6" y="288"/>
                        <a:pt x="6" y="288"/>
                        <a:pt x="6" y="288"/>
                      </a:cubicBezTo>
                      <a:cubicBezTo>
                        <a:pt x="3" y="288"/>
                        <a:pt x="0" y="286"/>
                        <a:pt x="0" y="282"/>
                      </a:cubicBezTo>
                      <a:cubicBezTo>
                        <a:pt x="0" y="6"/>
                        <a:pt x="0" y="6"/>
                        <a:pt x="0" y="6"/>
                      </a:cubicBezTo>
                      <a:cubicBezTo>
                        <a:pt x="0" y="3"/>
                        <a:pt x="3" y="0"/>
                        <a:pt x="6" y="0"/>
                      </a:cubicBezTo>
                      <a:cubicBezTo>
                        <a:pt x="138" y="0"/>
                        <a:pt x="138" y="0"/>
                        <a:pt x="138" y="0"/>
                      </a:cubicBezTo>
                      <a:cubicBezTo>
                        <a:pt x="140" y="0"/>
                        <a:pt x="141" y="1"/>
                        <a:pt x="142" y="2"/>
                      </a:cubicBezTo>
                      <a:cubicBezTo>
                        <a:pt x="214" y="74"/>
                        <a:pt x="214" y="74"/>
                        <a:pt x="214" y="74"/>
                      </a:cubicBezTo>
                      <a:cubicBezTo>
                        <a:pt x="216" y="75"/>
                        <a:pt x="216" y="77"/>
                        <a:pt x="216" y="78"/>
                      </a:cubicBezTo>
                      <a:cubicBezTo>
                        <a:pt x="216" y="282"/>
                        <a:pt x="216" y="282"/>
                        <a:pt x="216" y="282"/>
                      </a:cubicBezTo>
                      <a:cubicBezTo>
                        <a:pt x="216" y="286"/>
                        <a:pt x="214" y="288"/>
                        <a:pt x="210" y="288"/>
                      </a:cubicBezTo>
                      <a:close/>
                      <a:moveTo>
                        <a:pt x="12" y="276"/>
                      </a:moveTo>
                      <a:cubicBezTo>
                        <a:pt x="204" y="276"/>
                        <a:pt x="204" y="276"/>
                        <a:pt x="204" y="276"/>
                      </a:cubicBezTo>
                      <a:cubicBezTo>
                        <a:pt x="204" y="81"/>
                        <a:pt x="204" y="81"/>
                        <a:pt x="204" y="81"/>
                      </a:cubicBezTo>
                      <a:cubicBezTo>
                        <a:pt x="136" y="12"/>
                        <a:pt x="136" y="12"/>
                        <a:pt x="136" y="12"/>
                      </a:cubicBezTo>
                      <a:cubicBezTo>
                        <a:pt x="12" y="12"/>
                        <a:pt x="12" y="12"/>
                        <a:pt x="12" y="12"/>
                      </a:cubicBezTo>
                      <a:lnTo>
                        <a:pt x="12" y="276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79" name="Freeform 168">
                  <a:extLst>
                    <a:ext uri="{FF2B5EF4-FFF2-40B4-BE49-F238E27FC236}">
                      <a16:creationId xmlns:a16="http://schemas.microsoft.com/office/drawing/2014/main" id="{6274BD75-294B-4673-91B2-DB1D8CDAC5C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912" y="3202"/>
                  <a:ext cx="129" cy="125"/>
                </a:xfrm>
                <a:custGeom>
                  <a:avLst/>
                  <a:gdLst>
                    <a:gd name="T0" fmla="*/ 78 w 84"/>
                    <a:gd name="T1" fmla="*/ 84 h 84"/>
                    <a:gd name="T2" fmla="*/ 6 w 84"/>
                    <a:gd name="T3" fmla="*/ 84 h 84"/>
                    <a:gd name="T4" fmla="*/ 0 w 84"/>
                    <a:gd name="T5" fmla="*/ 78 h 84"/>
                    <a:gd name="T6" fmla="*/ 0 w 84"/>
                    <a:gd name="T7" fmla="*/ 6 h 84"/>
                    <a:gd name="T8" fmla="*/ 6 w 84"/>
                    <a:gd name="T9" fmla="*/ 0 h 84"/>
                    <a:gd name="T10" fmla="*/ 12 w 84"/>
                    <a:gd name="T11" fmla="*/ 6 h 84"/>
                    <a:gd name="T12" fmla="*/ 12 w 84"/>
                    <a:gd name="T13" fmla="*/ 72 h 84"/>
                    <a:gd name="T14" fmla="*/ 78 w 84"/>
                    <a:gd name="T15" fmla="*/ 72 h 84"/>
                    <a:gd name="T16" fmla="*/ 84 w 84"/>
                    <a:gd name="T17" fmla="*/ 78 h 84"/>
                    <a:gd name="T18" fmla="*/ 78 w 84"/>
                    <a:gd name="T19" fmla="*/ 84 h 8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84" h="84">
                      <a:moveTo>
                        <a:pt x="78" y="84"/>
                      </a:moveTo>
                      <a:cubicBezTo>
                        <a:pt x="6" y="84"/>
                        <a:pt x="6" y="84"/>
                        <a:pt x="6" y="84"/>
                      </a:cubicBezTo>
                      <a:cubicBezTo>
                        <a:pt x="3" y="84"/>
                        <a:pt x="0" y="82"/>
                        <a:pt x="0" y="78"/>
                      </a:cubicBezTo>
                      <a:cubicBezTo>
                        <a:pt x="0" y="6"/>
                        <a:pt x="0" y="6"/>
                        <a:pt x="0" y="6"/>
                      </a:cubicBezTo>
                      <a:cubicBezTo>
                        <a:pt x="0" y="3"/>
                        <a:pt x="3" y="0"/>
                        <a:pt x="6" y="0"/>
                      </a:cubicBezTo>
                      <a:cubicBezTo>
                        <a:pt x="10" y="0"/>
                        <a:pt x="12" y="3"/>
                        <a:pt x="12" y="6"/>
                      </a:cubicBezTo>
                      <a:cubicBezTo>
                        <a:pt x="12" y="72"/>
                        <a:pt x="12" y="72"/>
                        <a:pt x="12" y="72"/>
                      </a:cubicBezTo>
                      <a:cubicBezTo>
                        <a:pt x="78" y="72"/>
                        <a:pt x="78" y="72"/>
                        <a:pt x="78" y="72"/>
                      </a:cubicBezTo>
                      <a:cubicBezTo>
                        <a:pt x="82" y="72"/>
                        <a:pt x="84" y="75"/>
                        <a:pt x="84" y="78"/>
                      </a:cubicBezTo>
                      <a:cubicBezTo>
                        <a:pt x="84" y="82"/>
                        <a:pt x="82" y="84"/>
                        <a:pt x="78" y="84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80" name="Freeform 169">
                  <a:extLst>
                    <a:ext uri="{FF2B5EF4-FFF2-40B4-BE49-F238E27FC236}">
                      <a16:creationId xmlns:a16="http://schemas.microsoft.com/office/drawing/2014/main" id="{5BA89828-2E65-431C-A91B-70D9FF5AB96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766" y="3489"/>
                  <a:ext cx="219" cy="18"/>
                </a:xfrm>
                <a:custGeom>
                  <a:avLst/>
                  <a:gdLst>
                    <a:gd name="T0" fmla="*/ 137 w 143"/>
                    <a:gd name="T1" fmla="*/ 12 h 12"/>
                    <a:gd name="T2" fmla="*/ 6 w 143"/>
                    <a:gd name="T3" fmla="*/ 12 h 12"/>
                    <a:gd name="T4" fmla="*/ 0 w 143"/>
                    <a:gd name="T5" fmla="*/ 6 h 12"/>
                    <a:gd name="T6" fmla="*/ 6 w 143"/>
                    <a:gd name="T7" fmla="*/ 0 h 12"/>
                    <a:gd name="T8" fmla="*/ 137 w 143"/>
                    <a:gd name="T9" fmla="*/ 0 h 12"/>
                    <a:gd name="T10" fmla="*/ 143 w 143"/>
                    <a:gd name="T11" fmla="*/ 6 h 12"/>
                    <a:gd name="T12" fmla="*/ 137 w 143"/>
                    <a:gd name="T13" fmla="*/ 12 h 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43" h="12">
                      <a:moveTo>
                        <a:pt x="137" y="12"/>
                      </a:moveTo>
                      <a:cubicBezTo>
                        <a:pt x="6" y="12"/>
                        <a:pt x="6" y="12"/>
                        <a:pt x="6" y="12"/>
                      </a:cubicBezTo>
                      <a:cubicBezTo>
                        <a:pt x="3" y="12"/>
                        <a:pt x="0" y="10"/>
                        <a:pt x="0" y="6"/>
                      </a:cubicBezTo>
                      <a:cubicBezTo>
                        <a:pt x="0" y="3"/>
                        <a:pt x="3" y="0"/>
                        <a:pt x="6" y="0"/>
                      </a:cubicBezTo>
                      <a:cubicBezTo>
                        <a:pt x="137" y="0"/>
                        <a:pt x="137" y="0"/>
                        <a:pt x="137" y="0"/>
                      </a:cubicBezTo>
                      <a:cubicBezTo>
                        <a:pt x="141" y="0"/>
                        <a:pt x="143" y="3"/>
                        <a:pt x="143" y="6"/>
                      </a:cubicBezTo>
                      <a:cubicBezTo>
                        <a:pt x="143" y="10"/>
                        <a:pt x="141" y="12"/>
                        <a:pt x="137" y="1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81" name="Freeform 170">
                  <a:extLst>
                    <a:ext uri="{FF2B5EF4-FFF2-40B4-BE49-F238E27FC236}">
                      <a16:creationId xmlns:a16="http://schemas.microsoft.com/office/drawing/2014/main" id="{897DA535-1C6C-44A1-B31A-5AFAB008BE5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875" y="3453"/>
                  <a:ext cx="110" cy="18"/>
                </a:xfrm>
                <a:custGeom>
                  <a:avLst/>
                  <a:gdLst>
                    <a:gd name="T0" fmla="*/ 66 w 72"/>
                    <a:gd name="T1" fmla="*/ 12 h 12"/>
                    <a:gd name="T2" fmla="*/ 6 w 72"/>
                    <a:gd name="T3" fmla="*/ 12 h 12"/>
                    <a:gd name="T4" fmla="*/ 0 w 72"/>
                    <a:gd name="T5" fmla="*/ 6 h 12"/>
                    <a:gd name="T6" fmla="*/ 6 w 72"/>
                    <a:gd name="T7" fmla="*/ 0 h 12"/>
                    <a:gd name="T8" fmla="*/ 66 w 72"/>
                    <a:gd name="T9" fmla="*/ 0 h 12"/>
                    <a:gd name="T10" fmla="*/ 72 w 72"/>
                    <a:gd name="T11" fmla="*/ 6 h 12"/>
                    <a:gd name="T12" fmla="*/ 66 w 72"/>
                    <a:gd name="T13" fmla="*/ 12 h 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72" h="12">
                      <a:moveTo>
                        <a:pt x="66" y="12"/>
                      </a:moveTo>
                      <a:cubicBezTo>
                        <a:pt x="6" y="12"/>
                        <a:pt x="6" y="12"/>
                        <a:pt x="6" y="12"/>
                      </a:cubicBezTo>
                      <a:cubicBezTo>
                        <a:pt x="3" y="12"/>
                        <a:pt x="0" y="10"/>
                        <a:pt x="0" y="6"/>
                      </a:cubicBezTo>
                      <a:cubicBezTo>
                        <a:pt x="0" y="3"/>
                        <a:pt x="3" y="0"/>
                        <a:pt x="6" y="0"/>
                      </a:cubicBezTo>
                      <a:cubicBezTo>
                        <a:pt x="66" y="0"/>
                        <a:pt x="66" y="0"/>
                        <a:pt x="66" y="0"/>
                      </a:cubicBezTo>
                      <a:cubicBezTo>
                        <a:pt x="70" y="0"/>
                        <a:pt x="72" y="3"/>
                        <a:pt x="72" y="6"/>
                      </a:cubicBezTo>
                      <a:cubicBezTo>
                        <a:pt x="72" y="10"/>
                        <a:pt x="70" y="12"/>
                        <a:pt x="66" y="1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82" name="Freeform 171">
                  <a:extLst>
                    <a:ext uri="{FF2B5EF4-FFF2-40B4-BE49-F238E27FC236}">
                      <a16:creationId xmlns:a16="http://schemas.microsoft.com/office/drawing/2014/main" id="{D6F068A8-F587-4A92-9A6D-866B6CD9CAD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912" y="3417"/>
                  <a:ext cx="73" cy="18"/>
                </a:xfrm>
                <a:custGeom>
                  <a:avLst/>
                  <a:gdLst>
                    <a:gd name="T0" fmla="*/ 42 w 48"/>
                    <a:gd name="T1" fmla="*/ 12 h 12"/>
                    <a:gd name="T2" fmla="*/ 6 w 48"/>
                    <a:gd name="T3" fmla="*/ 12 h 12"/>
                    <a:gd name="T4" fmla="*/ 0 w 48"/>
                    <a:gd name="T5" fmla="*/ 6 h 12"/>
                    <a:gd name="T6" fmla="*/ 6 w 48"/>
                    <a:gd name="T7" fmla="*/ 0 h 12"/>
                    <a:gd name="T8" fmla="*/ 42 w 48"/>
                    <a:gd name="T9" fmla="*/ 0 h 12"/>
                    <a:gd name="T10" fmla="*/ 48 w 48"/>
                    <a:gd name="T11" fmla="*/ 6 h 12"/>
                    <a:gd name="T12" fmla="*/ 42 w 48"/>
                    <a:gd name="T13" fmla="*/ 12 h 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48" h="12">
                      <a:moveTo>
                        <a:pt x="42" y="12"/>
                      </a:moveTo>
                      <a:cubicBezTo>
                        <a:pt x="6" y="12"/>
                        <a:pt x="6" y="12"/>
                        <a:pt x="6" y="12"/>
                      </a:cubicBezTo>
                      <a:cubicBezTo>
                        <a:pt x="3" y="12"/>
                        <a:pt x="0" y="10"/>
                        <a:pt x="0" y="6"/>
                      </a:cubicBezTo>
                      <a:cubicBezTo>
                        <a:pt x="0" y="3"/>
                        <a:pt x="3" y="0"/>
                        <a:pt x="6" y="0"/>
                      </a:cubicBezTo>
                      <a:cubicBezTo>
                        <a:pt x="42" y="0"/>
                        <a:pt x="42" y="0"/>
                        <a:pt x="42" y="0"/>
                      </a:cubicBezTo>
                      <a:cubicBezTo>
                        <a:pt x="46" y="0"/>
                        <a:pt x="48" y="3"/>
                        <a:pt x="48" y="6"/>
                      </a:cubicBezTo>
                      <a:cubicBezTo>
                        <a:pt x="48" y="10"/>
                        <a:pt x="46" y="12"/>
                        <a:pt x="42" y="1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83" name="Freeform 172">
                  <a:extLst>
                    <a:ext uri="{FF2B5EF4-FFF2-40B4-BE49-F238E27FC236}">
                      <a16:creationId xmlns:a16="http://schemas.microsoft.com/office/drawing/2014/main" id="{EF4CD15B-8C5F-4D20-9C46-B8D174C3C4F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912" y="3381"/>
                  <a:ext cx="73" cy="18"/>
                </a:xfrm>
                <a:custGeom>
                  <a:avLst/>
                  <a:gdLst>
                    <a:gd name="T0" fmla="*/ 42 w 48"/>
                    <a:gd name="T1" fmla="*/ 12 h 12"/>
                    <a:gd name="T2" fmla="*/ 6 w 48"/>
                    <a:gd name="T3" fmla="*/ 12 h 12"/>
                    <a:gd name="T4" fmla="*/ 0 w 48"/>
                    <a:gd name="T5" fmla="*/ 6 h 12"/>
                    <a:gd name="T6" fmla="*/ 6 w 48"/>
                    <a:gd name="T7" fmla="*/ 0 h 12"/>
                    <a:gd name="T8" fmla="*/ 42 w 48"/>
                    <a:gd name="T9" fmla="*/ 0 h 12"/>
                    <a:gd name="T10" fmla="*/ 48 w 48"/>
                    <a:gd name="T11" fmla="*/ 6 h 12"/>
                    <a:gd name="T12" fmla="*/ 42 w 48"/>
                    <a:gd name="T13" fmla="*/ 12 h 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48" h="12">
                      <a:moveTo>
                        <a:pt x="42" y="12"/>
                      </a:moveTo>
                      <a:cubicBezTo>
                        <a:pt x="6" y="12"/>
                        <a:pt x="6" y="12"/>
                        <a:pt x="6" y="12"/>
                      </a:cubicBezTo>
                      <a:cubicBezTo>
                        <a:pt x="3" y="12"/>
                        <a:pt x="0" y="10"/>
                        <a:pt x="0" y="6"/>
                      </a:cubicBezTo>
                      <a:cubicBezTo>
                        <a:pt x="0" y="3"/>
                        <a:pt x="3" y="0"/>
                        <a:pt x="6" y="0"/>
                      </a:cubicBezTo>
                      <a:cubicBezTo>
                        <a:pt x="42" y="0"/>
                        <a:pt x="42" y="0"/>
                        <a:pt x="42" y="0"/>
                      </a:cubicBezTo>
                      <a:cubicBezTo>
                        <a:pt x="46" y="0"/>
                        <a:pt x="48" y="3"/>
                        <a:pt x="48" y="6"/>
                      </a:cubicBezTo>
                      <a:cubicBezTo>
                        <a:pt x="48" y="10"/>
                        <a:pt x="46" y="12"/>
                        <a:pt x="42" y="1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84" name="Freeform 173">
                  <a:extLst>
                    <a:ext uri="{FF2B5EF4-FFF2-40B4-BE49-F238E27FC236}">
                      <a16:creationId xmlns:a16="http://schemas.microsoft.com/office/drawing/2014/main" id="{EE576509-32DF-495D-827A-8EAC829944A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766" y="3525"/>
                  <a:ext cx="219" cy="17"/>
                </a:xfrm>
                <a:custGeom>
                  <a:avLst/>
                  <a:gdLst>
                    <a:gd name="T0" fmla="*/ 137 w 143"/>
                    <a:gd name="T1" fmla="*/ 12 h 12"/>
                    <a:gd name="T2" fmla="*/ 6 w 143"/>
                    <a:gd name="T3" fmla="*/ 12 h 12"/>
                    <a:gd name="T4" fmla="*/ 0 w 143"/>
                    <a:gd name="T5" fmla="*/ 6 h 12"/>
                    <a:gd name="T6" fmla="*/ 6 w 143"/>
                    <a:gd name="T7" fmla="*/ 0 h 12"/>
                    <a:gd name="T8" fmla="*/ 137 w 143"/>
                    <a:gd name="T9" fmla="*/ 0 h 12"/>
                    <a:gd name="T10" fmla="*/ 143 w 143"/>
                    <a:gd name="T11" fmla="*/ 6 h 12"/>
                    <a:gd name="T12" fmla="*/ 137 w 143"/>
                    <a:gd name="T13" fmla="*/ 12 h 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43" h="12">
                      <a:moveTo>
                        <a:pt x="137" y="12"/>
                      </a:moveTo>
                      <a:cubicBezTo>
                        <a:pt x="6" y="12"/>
                        <a:pt x="6" y="12"/>
                        <a:pt x="6" y="12"/>
                      </a:cubicBezTo>
                      <a:cubicBezTo>
                        <a:pt x="3" y="12"/>
                        <a:pt x="0" y="10"/>
                        <a:pt x="0" y="6"/>
                      </a:cubicBezTo>
                      <a:cubicBezTo>
                        <a:pt x="0" y="3"/>
                        <a:pt x="3" y="0"/>
                        <a:pt x="6" y="0"/>
                      </a:cubicBezTo>
                      <a:cubicBezTo>
                        <a:pt x="137" y="0"/>
                        <a:pt x="137" y="0"/>
                        <a:pt x="137" y="0"/>
                      </a:cubicBezTo>
                      <a:cubicBezTo>
                        <a:pt x="141" y="0"/>
                        <a:pt x="143" y="3"/>
                        <a:pt x="143" y="6"/>
                      </a:cubicBezTo>
                      <a:cubicBezTo>
                        <a:pt x="143" y="10"/>
                        <a:pt x="141" y="12"/>
                        <a:pt x="137" y="1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85" name="Freeform 174">
                  <a:extLst>
                    <a:ext uri="{FF2B5EF4-FFF2-40B4-BE49-F238E27FC236}">
                      <a16:creationId xmlns:a16="http://schemas.microsoft.com/office/drawing/2014/main" id="{1F5DF56C-F164-4702-B058-2E0D9BC02B9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766" y="3560"/>
                  <a:ext cx="219" cy="18"/>
                </a:xfrm>
                <a:custGeom>
                  <a:avLst/>
                  <a:gdLst>
                    <a:gd name="T0" fmla="*/ 137 w 143"/>
                    <a:gd name="T1" fmla="*/ 12 h 12"/>
                    <a:gd name="T2" fmla="*/ 6 w 143"/>
                    <a:gd name="T3" fmla="*/ 12 h 12"/>
                    <a:gd name="T4" fmla="*/ 0 w 143"/>
                    <a:gd name="T5" fmla="*/ 6 h 12"/>
                    <a:gd name="T6" fmla="*/ 6 w 143"/>
                    <a:gd name="T7" fmla="*/ 0 h 12"/>
                    <a:gd name="T8" fmla="*/ 137 w 143"/>
                    <a:gd name="T9" fmla="*/ 0 h 12"/>
                    <a:gd name="T10" fmla="*/ 143 w 143"/>
                    <a:gd name="T11" fmla="*/ 6 h 12"/>
                    <a:gd name="T12" fmla="*/ 137 w 143"/>
                    <a:gd name="T13" fmla="*/ 12 h 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43" h="12">
                      <a:moveTo>
                        <a:pt x="137" y="12"/>
                      </a:moveTo>
                      <a:cubicBezTo>
                        <a:pt x="6" y="12"/>
                        <a:pt x="6" y="12"/>
                        <a:pt x="6" y="12"/>
                      </a:cubicBezTo>
                      <a:cubicBezTo>
                        <a:pt x="3" y="12"/>
                        <a:pt x="0" y="10"/>
                        <a:pt x="0" y="6"/>
                      </a:cubicBezTo>
                      <a:cubicBezTo>
                        <a:pt x="0" y="3"/>
                        <a:pt x="3" y="0"/>
                        <a:pt x="6" y="0"/>
                      </a:cubicBezTo>
                      <a:cubicBezTo>
                        <a:pt x="137" y="0"/>
                        <a:pt x="137" y="0"/>
                        <a:pt x="137" y="0"/>
                      </a:cubicBezTo>
                      <a:cubicBezTo>
                        <a:pt x="141" y="0"/>
                        <a:pt x="143" y="3"/>
                        <a:pt x="143" y="6"/>
                      </a:cubicBezTo>
                      <a:cubicBezTo>
                        <a:pt x="143" y="10"/>
                        <a:pt x="141" y="12"/>
                        <a:pt x="137" y="1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</p:grpSp>
        </p:grpSp>
        <p:grpSp>
          <p:nvGrpSpPr>
            <p:cNvPr id="11" name="Group 10">
              <a:extLst>
                <a:ext uri="{FF2B5EF4-FFF2-40B4-BE49-F238E27FC236}">
                  <a16:creationId xmlns:a16="http://schemas.microsoft.com/office/drawing/2014/main" id="{6FBB848C-5F1A-4824-B909-0472ABA49F54}"/>
                </a:ext>
              </a:extLst>
            </p:cNvPr>
            <p:cNvGrpSpPr/>
            <p:nvPr/>
          </p:nvGrpSpPr>
          <p:grpSpPr>
            <a:xfrm>
              <a:off x="5001826" y="2183991"/>
              <a:ext cx="1150433" cy="1150733"/>
              <a:chOff x="4843846" y="2769131"/>
              <a:chExt cx="1150433" cy="1150733"/>
            </a:xfrm>
          </p:grpSpPr>
          <p:sp>
            <p:nvSpPr>
              <p:cNvPr id="14" name="Oval 13">
                <a:extLst>
                  <a:ext uri="{FF2B5EF4-FFF2-40B4-BE49-F238E27FC236}">
                    <a16:creationId xmlns:a16="http://schemas.microsoft.com/office/drawing/2014/main" id="{E686EE49-DEAA-4D2F-904B-2F6D6A963CD8}"/>
                  </a:ext>
                </a:extLst>
              </p:cNvPr>
              <p:cNvSpPr/>
              <p:nvPr/>
            </p:nvSpPr>
            <p:spPr>
              <a:xfrm rot="623184">
                <a:off x="4843846" y="2769131"/>
                <a:ext cx="1150433" cy="1150733"/>
              </a:xfrm>
              <a:prstGeom prst="ellipse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219419" tIns="109710" rIns="219419" bIns="10971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bg-BG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grpSp>
            <p:nvGrpSpPr>
              <p:cNvPr id="10" name="Group 9">
                <a:extLst>
                  <a:ext uri="{FF2B5EF4-FFF2-40B4-BE49-F238E27FC236}">
                    <a16:creationId xmlns:a16="http://schemas.microsoft.com/office/drawing/2014/main" id="{3BE79E10-8462-4782-A60D-5EEADE663589}"/>
                  </a:ext>
                </a:extLst>
              </p:cNvPr>
              <p:cNvGrpSpPr/>
              <p:nvPr/>
            </p:nvGrpSpPr>
            <p:grpSpPr>
              <a:xfrm>
                <a:off x="4936805" y="2862114"/>
                <a:ext cx="964514" cy="964766"/>
                <a:chOff x="4936805" y="2862114"/>
                <a:chExt cx="964514" cy="964766"/>
              </a:xfrm>
            </p:grpSpPr>
            <p:sp>
              <p:nvSpPr>
                <p:cNvPr id="15" name="Oval 14">
                  <a:extLst>
                    <a:ext uri="{FF2B5EF4-FFF2-40B4-BE49-F238E27FC236}">
                      <a16:creationId xmlns:a16="http://schemas.microsoft.com/office/drawing/2014/main" id="{765E3EF1-CC53-449B-A4DE-A2E103957EEE}"/>
                    </a:ext>
                  </a:extLst>
                </p:cNvPr>
                <p:cNvSpPr/>
                <p:nvPr/>
              </p:nvSpPr>
              <p:spPr>
                <a:xfrm rot="623184">
                  <a:off x="4936805" y="2862114"/>
                  <a:ext cx="964514" cy="964766"/>
                </a:xfrm>
                <a:prstGeom prst="ellipse">
                  <a:avLst/>
                </a:prstGeom>
                <a:solidFill>
                  <a:schemeClr val="accent2">
                    <a:lumMod val="50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219419" tIns="109710" rIns="219419" bIns="109710"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bg-BG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grpSp>
              <p:nvGrpSpPr>
                <p:cNvPr id="86" name="Group 77">
                  <a:extLst>
                    <a:ext uri="{FF2B5EF4-FFF2-40B4-BE49-F238E27FC236}">
                      <a16:creationId xmlns:a16="http://schemas.microsoft.com/office/drawing/2014/main" id="{27CD8945-6D98-4627-8A78-FB075816166C}"/>
                    </a:ext>
                  </a:extLst>
                </p:cNvPr>
                <p:cNvGrpSpPr>
                  <a:grpSpLocks noChangeAspect="1"/>
                </p:cNvGrpSpPr>
                <p:nvPr/>
              </p:nvGrpSpPr>
              <p:grpSpPr bwMode="auto">
                <a:xfrm>
                  <a:off x="5165707" y="3127919"/>
                  <a:ext cx="506710" cy="433156"/>
                  <a:chOff x="3613" y="1954"/>
                  <a:chExt cx="434" cy="371"/>
                </a:xfrm>
                <a:solidFill>
                  <a:schemeClr val="bg1"/>
                </a:solidFill>
              </p:grpSpPr>
              <p:sp>
                <p:nvSpPr>
                  <p:cNvPr id="87" name="Freeform 78">
                    <a:extLst>
                      <a:ext uri="{FF2B5EF4-FFF2-40B4-BE49-F238E27FC236}">
                        <a16:creationId xmlns:a16="http://schemas.microsoft.com/office/drawing/2014/main" id="{2085BD1A-4E74-42F2-8229-1B828FC1B991}"/>
                      </a:ext>
                    </a:extLst>
                  </p:cNvPr>
                  <p:cNvSpPr>
                    <a:spLocks noEditPoints="1"/>
                  </p:cNvSpPr>
                  <p:nvPr/>
                </p:nvSpPr>
                <p:spPr bwMode="auto">
                  <a:xfrm>
                    <a:off x="3614" y="2078"/>
                    <a:ext cx="343" cy="247"/>
                  </a:xfrm>
                  <a:custGeom>
                    <a:avLst/>
                    <a:gdLst>
                      <a:gd name="T0" fmla="*/ 224 w 224"/>
                      <a:gd name="T1" fmla="*/ 109 h 165"/>
                      <a:gd name="T2" fmla="*/ 224 w 224"/>
                      <a:gd name="T3" fmla="*/ 108 h 165"/>
                      <a:gd name="T4" fmla="*/ 224 w 224"/>
                      <a:gd name="T5" fmla="*/ 107 h 165"/>
                      <a:gd name="T6" fmla="*/ 223 w 224"/>
                      <a:gd name="T7" fmla="*/ 107 h 165"/>
                      <a:gd name="T8" fmla="*/ 223 w 224"/>
                      <a:gd name="T9" fmla="*/ 106 h 165"/>
                      <a:gd name="T10" fmla="*/ 175 w 224"/>
                      <a:gd name="T11" fmla="*/ 58 h 165"/>
                      <a:gd name="T12" fmla="*/ 170 w 224"/>
                      <a:gd name="T13" fmla="*/ 56 h 165"/>
                      <a:gd name="T14" fmla="*/ 166 w 224"/>
                      <a:gd name="T15" fmla="*/ 58 h 165"/>
                      <a:gd name="T16" fmla="*/ 166 w 224"/>
                      <a:gd name="T17" fmla="*/ 67 h 165"/>
                      <a:gd name="T18" fmla="*/ 204 w 224"/>
                      <a:gd name="T19" fmla="*/ 104 h 165"/>
                      <a:gd name="T20" fmla="*/ 48 w 224"/>
                      <a:gd name="T21" fmla="*/ 104 h 165"/>
                      <a:gd name="T22" fmla="*/ 12 w 224"/>
                      <a:gd name="T23" fmla="*/ 68 h 165"/>
                      <a:gd name="T24" fmla="*/ 48 w 224"/>
                      <a:gd name="T25" fmla="*/ 32 h 165"/>
                      <a:gd name="T26" fmla="*/ 111 w 224"/>
                      <a:gd name="T27" fmla="*/ 32 h 165"/>
                      <a:gd name="T28" fmla="*/ 111 w 224"/>
                      <a:gd name="T29" fmla="*/ 44 h 165"/>
                      <a:gd name="T30" fmla="*/ 117 w 224"/>
                      <a:gd name="T31" fmla="*/ 50 h 165"/>
                      <a:gd name="T32" fmla="*/ 155 w 224"/>
                      <a:gd name="T33" fmla="*/ 50 h 165"/>
                      <a:gd name="T34" fmla="*/ 161 w 224"/>
                      <a:gd name="T35" fmla="*/ 44 h 165"/>
                      <a:gd name="T36" fmla="*/ 161 w 224"/>
                      <a:gd name="T37" fmla="*/ 6 h 165"/>
                      <a:gd name="T38" fmla="*/ 155 w 224"/>
                      <a:gd name="T39" fmla="*/ 0 h 165"/>
                      <a:gd name="T40" fmla="*/ 117 w 224"/>
                      <a:gd name="T41" fmla="*/ 0 h 165"/>
                      <a:gd name="T42" fmla="*/ 111 w 224"/>
                      <a:gd name="T43" fmla="*/ 6 h 165"/>
                      <a:gd name="T44" fmla="*/ 111 w 224"/>
                      <a:gd name="T45" fmla="*/ 21 h 165"/>
                      <a:gd name="T46" fmla="*/ 48 w 224"/>
                      <a:gd name="T47" fmla="*/ 21 h 165"/>
                      <a:gd name="T48" fmla="*/ 0 w 224"/>
                      <a:gd name="T49" fmla="*/ 68 h 165"/>
                      <a:gd name="T50" fmla="*/ 48 w 224"/>
                      <a:gd name="T51" fmla="*/ 116 h 165"/>
                      <a:gd name="T52" fmla="*/ 204 w 224"/>
                      <a:gd name="T53" fmla="*/ 116 h 165"/>
                      <a:gd name="T54" fmla="*/ 166 w 224"/>
                      <a:gd name="T55" fmla="*/ 154 h 165"/>
                      <a:gd name="T56" fmla="*/ 166 w 224"/>
                      <a:gd name="T57" fmla="*/ 163 h 165"/>
                      <a:gd name="T58" fmla="*/ 175 w 224"/>
                      <a:gd name="T59" fmla="*/ 163 h 165"/>
                      <a:gd name="T60" fmla="*/ 223 w 224"/>
                      <a:gd name="T61" fmla="*/ 115 h 165"/>
                      <a:gd name="T62" fmla="*/ 223 w 224"/>
                      <a:gd name="T63" fmla="*/ 114 h 165"/>
                      <a:gd name="T64" fmla="*/ 224 w 224"/>
                      <a:gd name="T65" fmla="*/ 113 h 165"/>
                      <a:gd name="T66" fmla="*/ 224 w 224"/>
                      <a:gd name="T67" fmla="*/ 113 h 165"/>
                      <a:gd name="T68" fmla="*/ 224 w 224"/>
                      <a:gd name="T69" fmla="*/ 112 h 165"/>
                      <a:gd name="T70" fmla="*/ 224 w 224"/>
                      <a:gd name="T71" fmla="*/ 112 h 165"/>
                      <a:gd name="T72" fmla="*/ 224 w 224"/>
                      <a:gd name="T73" fmla="*/ 109 h 165"/>
                      <a:gd name="T74" fmla="*/ 224 w 224"/>
                      <a:gd name="T75" fmla="*/ 109 h 165"/>
                      <a:gd name="T76" fmla="*/ 122 w 224"/>
                      <a:gd name="T77" fmla="*/ 12 h 165"/>
                      <a:gd name="T78" fmla="*/ 149 w 224"/>
                      <a:gd name="T79" fmla="*/ 12 h 165"/>
                      <a:gd name="T80" fmla="*/ 149 w 224"/>
                      <a:gd name="T81" fmla="*/ 38 h 165"/>
                      <a:gd name="T82" fmla="*/ 122 w 224"/>
                      <a:gd name="T83" fmla="*/ 38 h 165"/>
                      <a:gd name="T84" fmla="*/ 122 w 224"/>
                      <a:gd name="T85" fmla="*/ 12 h 16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  <a:cxn ang="0">
                        <a:pos x="T76" y="T77"/>
                      </a:cxn>
                      <a:cxn ang="0">
                        <a:pos x="T78" y="T79"/>
                      </a:cxn>
                      <a:cxn ang="0">
                        <a:pos x="T80" y="T81"/>
                      </a:cxn>
                      <a:cxn ang="0">
                        <a:pos x="T82" y="T83"/>
                      </a:cxn>
                      <a:cxn ang="0">
                        <a:pos x="T84" y="T85"/>
                      </a:cxn>
                    </a:cxnLst>
                    <a:rect l="0" t="0" r="r" b="b"/>
                    <a:pathLst>
                      <a:path w="224" h="165">
                        <a:moveTo>
                          <a:pt x="224" y="109"/>
                        </a:moveTo>
                        <a:cubicBezTo>
                          <a:pt x="224" y="108"/>
                          <a:pt x="224" y="108"/>
                          <a:pt x="224" y="108"/>
                        </a:cubicBezTo>
                        <a:cubicBezTo>
                          <a:pt x="224" y="108"/>
                          <a:pt x="224" y="108"/>
                          <a:pt x="224" y="107"/>
                        </a:cubicBezTo>
                        <a:cubicBezTo>
                          <a:pt x="224" y="107"/>
                          <a:pt x="223" y="107"/>
                          <a:pt x="223" y="107"/>
                        </a:cubicBezTo>
                        <a:cubicBezTo>
                          <a:pt x="223" y="107"/>
                          <a:pt x="223" y="106"/>
                          <a:pt x="223" y="106"/>
                        </a:cubicBezTo>
                        <a:cubicBezTo>
                          <a:pt x="175" y="58"/>
                          <a:pt x="175" y="58"/>
                          <a:pt x="175" y="58"/>
                        </a:cubicBezTo>
                        <a:cubicBezTo>
                          <a:pt x="174" y="57"/>
                          <a:pt x="172" y="56"/>
                          <a:pt x="170" y="56"/>
                        </a:cubicBezTo>
                        <a:cubicBezTo>
                          <a:pt x="169" y="56"/>
                          <a:pt x="167" y="57"/>
                          <a:pt x="166" y="58"/>
                        </a:cubicBezTo>
                        <a:cubicBezTo>
                          <a:pt x="164" y="61"/>
                          <a:pt x="164" y="64"/>
                          <a:pt x="166" y="67"/>
                        </a:cubicBezTo>
                        <a:cubicBezTo>
                          <a:pt x="204" y="104"/>
                          <a:pt x="204" y="104"/>
                          <a:pt x="204" y="104"/>
                        </a:cubicBezTo>
                        <a:cubicBezTo>
                          <a:pt x="48" y="104"/>
                          <a:pt x="48" y="104"/>
                          <a:pt x="48" y="104"/>
                        </a:cubicBezTo>
                        <a:cubicBezTo>
                          <a:pt x="28" y="104"/>
                          <a:pt x="12" y="88"/>
                          <a:pt x="12" y="68"/>
                        </a:cubicBezTo>
                        <a:cubicBezTo>
                          <a:pt x="12" y="49"/>
                          <a:pt x="28" y="32"/>
                          <a:pt x="48" y="32"/>
                        </a:cubicBezTo>
                        <a:cubicBezTo>
                          <a:pt x="111" y="32"/>
                          <a:pt x="111" y="32"/>
                          <a:pt x="111" y="32"/>
                        </a:cubicBezTo>
                        <a:cubicBezTo>
                          <a:pt x="111" y="44"/>
                          <a:pt x="111" y="44"/>
                          <a:pt x="111" y="44"/>
                        </a:cubicBezTo>
                        <a:cubicBezTo>
                          <a:pt x="111" y="48"/>
                          <a:pt x="113" y="50"/>
                          <a:pt x="117" y="50"/>
                        </a:cubicBezTo>
                        <a:cubicBezTo>
                          <a:pt x="155" y="50"/>
                          <a:pt x="155" y="50"/>
                          <a:pt x="155" y="50"/>
                        </a:cubicBezTo>
                        <a:cubicBezTo>
                          <a:pt x="158" y="50"/>
                          <a:pt x="161" y="48"/>
                          <a:pt x="161" y="44"/>
                        </a:cubicBezTo>
                        <a:cubicBezTo>
                          <a:pt x="161" y="6"/>
                          <a:pt x="161" y="6"/>
                          <a:pt x="161" y="6"/>
                        </a:cubicBezTo>
                        <a:cubicBezTo>
                          <a:pt x="161" y="3"/>
                          <a:pt x="158" y="0"/>
                          <a:pt x="155" y="0"/>
                        </a:cubicBezTo>
                        <a:cubicBezTo>
                          <a:pt x="117" y="0"/>
                          <a:pt x="117" y="0"/>
                          <a:pt x="117" y="0"/>
                        </a:cubicBezTo>
                        <a:cubicBezTo>
                          <a:pt x="113" y="0"/>
                          <a:pt x="111" y="3"/>
                          <a:pt x="111" y="6"/>
                        </a:cubicBezTo>
                        <a:cubicBezTo>
                          <a:pt x="111" y="21"/>
                          <a:pt x="111" y="21"/>
                          <a:pt x="111" y="21"/>
                        </a:cubicBezTo>
                        <a:cubicBezTo>
                          <a:pt x="48" y="21"/>
                          <a:pt x="48" y="21"/>
                          <a:pt x="48" y="21"/>
                        </a:cubicBezTo>
                        <a:cubicBezTo>
                          <a:pt x="21" y="21"/>
                          <a:pt x="0" y="42"/>
                          <a:pt x="0" y="68"/>
                        </a:cubicBezTo>
                        <a:cubicBezTo>
                          <a:pt x="0" y="95"/>
                          <a:pt x="21" y="116"/>
                          <a:pt x="48" y="116"/>
                        </a:cubicBezTo>
                        <a:cubicBezTo>
                          <a:pt x="204" y="116"/>
                          <a:pt x="204" y="116"/>
                          <a:pt x="204" y="116"/>
                        </a:cubicBezTo>
                        <a:cubicBezTo>
                          <a:pt x="166" y="154"/>
                          <a:pt x="166" y="154"/>
                          <a:pt x="166" y="154"/>
                        </a:cubicBezTo>
                        <a:cubicBezTo>
                          <a:pt x="164" y="156"/>
                          <a:pt x="164" y="160"/>
                          <a:pt x="166" y="163"/>
                        </a:cubicBezTo>
                        <a:cubicBezTo>
                          <a:pt x="169" y="165"/>
                          <a:pt x="172" y="165"/>
                          <a:pt x="175" y="163"/>
                        </a:cubicBezTo>
                        <a:cubicBezTo>
                          <a:pt x="223" y="115"/>
                          <a:pt x="223" y="115"/>
                          <a:pt x="223" y="115"/>
                        </a:cubicBezTo>
                        <a:cubicBezTo>
                          <a:pt x="223" y="114"/>
                          <a:pt x="223" y="114"/>
                          <a:pt x="223" y="114"/>
                        </a:cubicBezTo>
                        <a:cubicBezTo>
                          <a:pt x="223" y="114"/>
                          <a:pt x="224" y="113"/>
                          <a:pt x="224" y="113"/>
                        </a:cubicBezTo>
                        <a:cubicBezTo>
                          <a:pt x="224" y="113"/>
                          <a:pt x="224" y="113"/>
                          <a:pt x="224" y="113"/>
                        </a:cubicBezTo>
                        <a:cubicBezTo>
                          <a:pt x="224" y="113"/>
                          <a:pt x="224" y="112"/>
                          <a:pt x="224" y="112"/>
                        </a:cubicBezTo>
                        <a:cubicBezTo>
                          <a:pt x="224" y="112"/>
                          <a:pt x="224" y="112"/>
                          <a:pt x="224" y="112"/>
                        </a:cubicBezTo>
                        <a:cubicBezTo>
                          <a:pt x="224" y="111"/>
                          <a:pt x="224" y="110"/>
                          <a:pt x="224" y="109"/>
                        </a:cubicBezTo>
                        <a:cubicBezTo>
                          <a:pt x="224" y="109"/>
                          <a:pt x="224" y="109"/>
                          <a:pt x="224" y="109"/>
                        </a:cubicBezTo>
                        <a:close/>
                        <a:moveTo>
                          <a:pt x="122" y="12"/>
                        </a:moveTo>
                        <a:cubicBezTo>
                          <a:pt x="149" y="12"/>
                          <a:pt x="149" y="12"/>
                          <a:pt x="149" y="12"/>
                        </a:cubicBezTo>
                        <a:cubicBezTo>
                          <a:pt x="149" y="38"/>
                          <a:pt x="149" y="38"/>
                          <a:pt x="149" y="38"/>
                        </a:cubicBezTo>
                        <a:cubicBezTo>
                          <a:pt x="122" y="38"/>
                          <a:pt x="122" y="38"/>
                          <a:pt x="122" y="38"/>
                        </a:cubicBezTo>
                        <a:lnTo>
                          <a:pt x="122" y="12"/>
                        </a:ln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88" name="Freeform 79">
                    <a:extLst>
                      <a:ext uri="{FF2B5EF4-FFF2-40B4-BE49-F238E27FC236}">
                        <a16:creationId xmlns:a16="http://schemas.microsoft.com/office/drawing/2014/main" id="{385AD228-E476-4BB9-9BDD-2EB74DF8C38B}"/>
                      </a:ext>
                    </a:extLst>
                  </p:cNvPr>
                  <p:cNvSpPr>
                    <a:spLocks noEditPoints="1"/>
                  </p:cNvSpPr>
                  <p:nvPr/>
                </p:nvSpPr>
                <p:spPr bwMode="auto">
                  <a:xfrm>
                    <a:off x="3971" y="2203"/>
                    <a:ext cx="76" cy="75"/>
                  </a:xfrm>
                  <a:custGeom>
                    <a:avLst/>
                    <a:gdLst>
                      <a:gd name="T0" fmla="*/ 44 w 50"/>
                      <a:gd name="T1" fmla="*/ 0 h 50"/>
                      <a:gd name="T2" fmla="*/ 6 w 50"/>
                      <a:gd name="T3" fmla="*/ 0 h 50"/>
                      <a:gd name="T4" fmla="*/ 0 w 50"/>
                      <a:gd name="T5" fmla="*/ 6 h 50"/>
                      <a:gd name="T6" fmla="*/ 0 w 50"/>
                      <a:gd name="T7" fmla="*/ 44 h 50"/>
                      <a:gd name="T8" fmla="*/ 6 w 50"/>
                      <a:gd name="T9" fmla="*/ 50 h 50"/>
                      <a:gd name="T10" fmla="*/ 44 w 50"/>
                      <a:gd name="T11" fmla="*/ 50 h 50"/>
                      <a:gd name="T12" fmla="*/ 50 w 50"/>
                      <a:gd name="T13" fmla="*/ 44 h 50"/>
                      <a:gd name="T14" fmla="*/ 50 w 50"/>
                      <a:gd name="T15" fmla="*/ 6 h 50"/>
                      <a:gd name="T16" fmla="*/ 44 w 50"/>
                      <a:gd name="T17" fmla="*/ 0 h 50"/>
                      <a:gd name="T18" fmla="*/ 38 w 50"/>
                      <a:gd name="T19" fmla="*/ 38 h 50"/>
                      <a:gd name="T20" fmla="*/ 12 w 50"/>
                      <a:gd name="T21" fmla="*/ 38 h 50"/>
                      <a:gd name="T22" fmla="*/ 12 w 50"/>
                      <a:gd name="T23" fmla="*/ 12 h 50"/>
                      <a:gd name="T24" fmla="*/ 38 w 50"/>
                      <a:gd name="T25" fmla="*/ 12 h 50"/>
                      <a:gd name="T26" fmla="*/ 38 w 50"/>
                      <a:gd name="T27" fmla="*/ 38 h 5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</a:cxnLst>
                    <a:rect l="0" t="0" r="r" b="b"/>
                    <a:pathLst>
                      <a:path w="50" h="50">
                        <a:moveTo>
                          <a:pt x="44" y="0"/>
                        </a:moveTo>
                        <a:cubicBezTo>
                          <a:pt x="6" y="0"/>
                          <a:pt x="6" y="0"/>
                          <a:pt x="6" y="0"/>
                        </a:cubicBezTo>
                        <a:cubicBezTo>
                          <a:pt x="3" y="0"/>
                          <a:pt x="0" y="3"/>
                          <a:pt x="0" y="6"/>
                        </a:cubicBezTo>
                        <a:cubicBezTo>
                          <a:pt x="0" y="44"/>
                          <a:pt x="0" y="44"/>
                          <a:pt x="0" y="44"/>
                        </a:cubicBezTo>
                        <a:cubicBezTo>
                          <a:pt x="0" y="47"/>
                          <a:pt x="3" y="50"/>
                          <a:pt x="6" y="50"/>
                        </a:cubicBezTo>
                        <a:cubicBezTo>
                          <a:pt x="44" y="50"/>
                          <a:pt x="44" y="50"/>
                          <a:pt x="44" y="50"/>
                        </a:cubicBezTo>
                        <a:cubicBezTo>
                          <a:pt x="48" y="50"/>
                          <a:pt x="50" y="47"/>
                          <a:pt x="50" y="44"/>
                        </a:cubicBezTo>
                        <a:cubicBezTo>
                          <a:pt x="50" y="6"/>
                          <a:pt x="50" y="6"/>
                          <a:pt x="50" y="6"/>
                        </a:cubicBezTo>
                        <a:cubicBezTo>
                          <a:pt x="50" y="3"/>
                          <a:pt x="48" y="0"/>
                          <a:pt x="44" y="0"/>
                        </a:cubicBezTo>
                        <a:close/>
                        <a:moveTo>
                          <a:pt x="38" y="38"/>
                        </a:moveTo>
                        <a:cubicBezTo>
                          <a:pt x="12" y="38"/>
                          <a:pt x="12" y="38"/>
                          <a:pt x="12" y="38"/>
                        </a:cubicBezTo>
                        <a:cubicBezTo>
                          <a:pt x="12" y="12"/>
                          <a:pt x="12" y="12"/>
                          <a:pt x="12" y="12"/>
                        </a:cubicBezTo>
                        <a:cubicBezTo>
                          <a:pt x="38" y="12"/>
                          <a:pt x="38" y="12"/>
                          <a:pt x="38" y="12"/>
                        </a:cubicBezTo>
                        <a:lnTo>
                          <a:pt x="38" y="38"/>
                        </a:ln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89" name="Freeform 80">
                    <a:extLst>
                      <a:ext uri="{FF2B5EF4-FFF2-40B4-BE49-F238E27FC236}">
                        <a16:creationId xmlns:a16="http://schemas.microsoft.com/office/drawing/2014/main" id="{298CCB17-2A0E-4D15-B527-6473A76A3BF8}"/>
                      </a:ext>
                    </a:extLst>
                  </p:cNvPr>
                  <p:cNvSpPr>
                    <a:spLocks noEditPoints="1"/>
                  </p:cNvSpPr>
                  <p:nvPr/>
                </p:nvSpPr>
                <p:spPr bwMode="auto">
                  <a:xfrm>
                    <a:off x="3613" y="1954"/>
                    <a:ext cx="434" cy="243"/>
                  </a:xfrm>
                  <a:custGeom>
                    <a:avLst/>
                    <a:gdLst>
                      <a:gd name="T0" fmla="*/ 193 w 284"/>
                      <a:gd name="T1" fmla="*/ 115 h 163"/>
                      <a:gd name="T2" fmla="*/ 236 w 284"/>
                      <a:gd name="T3" fmla="*/ 115 h 163"/>
                      <a:gd name="T4" fmla="*/ 284 w 284"/>
                      <a:gd name="T5" fmla="*/ 68 h 163"/>
                      <a:gd name="T6" fmla="*/ 236 w 284"/>
                      <a:gd name="T7" fmla="*/ 20 h 163"/>
                      <a:gd name="T8" fmla="*/ 50 w 284"/>
                      <a:gd name="T9" fmla="*/ 20 h 163"/>
                      <a:gd name="T10" fmla="*/ 50 w 284"/>
                      <a:gd name="T11" fmla="*/ 5 h 163"/>
                      <a:gd name="T12" fmla="*/ 44 w 284"/>
                      <a:gd name="T13" fmla="*/ 0 h 163"/>
                      <a:gd name="T14" fmla="*/ 6 w 284"/>
                      <a:gd name="T15" fmla="*/ 0 h 163"/>
                      <a:gd name="T16" fmla="*/ 0 w 284"/>
                      <a:gd name="T17" fmla="*/ 5 h 163"/>
                      <a:gd name="T18" fmla="*/ 0 w 284"/>
                      <a:gd name="T19" fmla="*/ 44 h 163"/>
                      <a:gd name="T20" fmla="*/ 6 w 284"/>
                      <a:gd name="T21" fmla="*/ 49 h 163"/>
                      <a:gd name="T22" fmla="*/ 44 w 284"/>
                      <a:gd name="T23" fmla="*/ 49 h 163"/>
                      <a:gd name="T24" fmla="*/ 50 w 284"/>
                      <a:gd name="T25" fmla="*/ 44 h 163"/>
                      <a:gd name="T26" fmla="*/ 50 w 284"/>
                      <a:gd name="T27" fmla="*/ 32 h 163"/>
                      <a:gd name="T28" fmla="*/ 236 w 284"/>
                      <a:gd name="T29" fmla="*/ 32 h 163"/>
                      <a:gd name="T30" fmla="*/ 272 w 284"/>
                      <a:gd name="T31" fmla="*/ 68 h 163"/>
                      <a:gd name="T32" fmla="*/ 236 w 284"/>
                      <a:gd name="T33" fmla="*/ 104 h 163"/>
                      <a:gd name="T34" fmla="*/ 192 w 284"/>
                      <a:gd name="T35" fmla="*/ 104 h 163"/>
                      <a:gd name="T36" fmla="*/ 192 w 284"/>
                      <a:gd name="T37" fmla="*/ 102 h 163"/>
                      <a:gd name="T38" fmla="*/ 229 w 284"/>
                      <a:gd name="T39" fmla="*/ 65 h 163"/>
                      <a:gd name="T40" fmla="*/ 229 w 284"/>
                      <a:gd name="T41" fmla="*/ 56 h 163"/>
                      <a:gd name="T42" fmla="*/ 225 w 284"/>
                      <a:gd name="T43" fmla="*/ 54 h 163"/>
                      <a:gd name="T44" fmla="*/ 221 w 284"/>
                      <a:gd name="T45" fmla="*/ 56 h 163"/>
                      <a:gd name="T46" fmla="*/ 173 w 284"/>
                      <a:gd name="T47" fmla="*/ 104 h 163"/>
                      <a:gd name="T48" fmla="*/ 172 w 284"/>
                      <a:gd name="T49" fmla="*/ 105 h 163"/>
                      <a:gd name="T50" fmla="*/ 172 w 284"/>
                      <a:gd name="T51" fmla="*/ 105 h 163"/>
                      <a:gd name="T52" fmla="*/ 171 w 284"/>
                      <a:gd name="T53" fmla="*/ 106 h 163"/>
                      <a:gd name="T54" fmla="*/ 171 w 284"/>
                      <a:gd name="T55" fmla="*/ 107 h 163"/>
                      <a:gd name="T56" fmla="*/ 171 w 284"/>
                      <a:gd name="T57" fmla="*/ 107 h 163"/>
                      <a:gd name="T58" fmla="*/ 171 w 284"/>
                      <a:gd name="T59" fmla="*/ 109 h 163"/>
                      <a:gd name="T60" fmla="*/ 171 w 284"/>
                      <a:gd name="T61" fmla="*/ 110 h 163"/>
                      <a:gd name="T62" fmla="*/ 171 w 284"/>
                      <a:gd name="T63" fmla="*/ 111 h 163"/>
                      <a:gd name="T64" fmla="*/ 172 w 284"/>
                      <a:gd name="T65" fmla="*/ 111 h 163"/>
                      <a:gd name="T66" fmla="*/ 172 w 284"/>
                      <a:gd name="T67" fmla="*/ 112 h 163"/>
                      <a:gd name="T68" fmla="*/ 173 w 284"/>
                      <a:gd name="T69" fmla="*/ 113 h 163"/>
                      <a:gd name="T70" fmla="*/ 221 w 284"/>
                      <a:gd name="T71" fmla="*/ 160 h 163"/>
                      <a:gd name="T72" fmla="*/ 229 w 284"/>
                      <a:gd name="T73" fmla="*/ 160 h 163"/>
                      <a:gd name="T74" fmla="*/ 229 w 284"/>
                      <a:gd name="T75" fmla="*/ 152 h 163"/>
                      <a:gd name="T76" fmla="*/ 193 w 284"/>
                      <a:gd name="T77" fmla="*/ 115 h 163"/>
                      <a:gd name="T78" fmla="*/ 38 w 284"/>
                      <a:gd name="T79" fmla="*/ 38 h 163"/>
                      <a:gd name="T80" fmla="*/ 12 w 284"/>
                      <a:gd name="T81" fmla="*/ 38 h 163"/>
                      <a:gd name="T82" fmla="*/ 12 w 284"/>
                      <a:gd name="T83" fmla="*/ 11 h 163"/>
                      <a:gd name="T84" fmla="*/ 38 w 284"/>
                      <a:gd name="T85" fmla="*/ 11 h 163"/>
                      <a:gd name="T86" fmla="*/ 38 w 284"/>
                      <a:gd name="T87" fmla="*/ 38 h 16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  <a:cxn ang="0">
                        <a:pos x="T76" y="T77"/>
                      </a:cxn>
                      <a:cxn ang="0">
                        <a:pos x="T78" y="T79"/>
                      </a:cxn>
                      <a:cxn ang="0">
                        <a:pos x="T80" y="T81"/>
                      </a:cxn>
                      <a:cxn ang="0">
                        <a:pos x="T82" y="T83"/>
                      </a:cxn>
                      <a:cxn ang="0">
                        <a:pos x="T84" y="T85"/>
                      </a:cxn>
                      <a:cxn ang="0">
                        <a:pos x="T86" y="T87"/>
                      </a:cxn>
                    </a:cxnLst>
                    <a:rect l="0" t="0" r="r" b="b"/>
                    <a:pathLst>
                      <a:path w="284" h="163">
                        <a:moveTo>
                          <a:pt x="193" y="115"/>
                        </a:moveTo>
                        <a:cubicBezTo>
                          <a:pt x="236" y="115"/>
                          <a:pt x="236" y="115"/>
                          <a:pt x="236" y="115"/>
                        </a:cubicBezTo>
                        <a:cubicBezTo>
                          <a:pt x="262" y="115"/>
                          <a:pt x="284" y="94"/>
                          <a:pt x="284" y="68"/>
                        </a:cubicBezTo>
                        <a:cubicBezTo>
                          <a:pt x="284" y="41"/>
                          <a:pt x="262" y="20"/>
                          <a:pt x="236" y="20"/>
                        </a:cubicBezTo>
                        <a:cubicBezTo>
                          <a:pt x="50" y="20"/>
                          <a:pt x="50" y="20"/>
                          <a:pt x="50" y="20"/>
                        </a:cubicBezTo>
                        <a:cubicBezTo>
                          <a:pt x="50" y="5"/>
                          <a:pt x="50" y="5"/>
                          <a:pt x="50" y="5"/>
                        </a:cubicBezTo>
                        <a:cubicBezTo>
                          <a:pt x="50" y="2"/>
                          <a:pt x="47" y="0"/>
                          <a:pt x="44" y="0"/>
                        </a:cubicBezTo>
                        <a:cubicBezTo>
                          <a:pt x="6" y="0"/>
                          <a:pt x="6" y="0"/>
                          <a:pt x="6" y="0"/>
                        </a:cubicBezTo>
                        <a:cubicBezTo>
                          <a:pt x="3" y="0"/>
                          <a:pt x="0" y="2"/>
                          <a:pt x="0" y="5"/>
                        </a:cubicBezTo>
                        <a:cubicBezTo>
                          <a:pt x="0" y="44"/>
                          <a:pt x="0" y="44"/>
                          <a:pt x="0" y="44"/>
                        </a:cubicBezTo>
                        <a:cubicBezTo>
                          <a:pt x="0" y="47"/>
                          <a:pt x="3" y="49"/>
                          <a:pt x="6" y="49"/>
                        </a:cubicBezTo>
                        <a:cubicBezTo>
                          <a:pt x="44" y="49"/>
                          <a:pt x="44" y="49"/>
                          <a:pt x="44" y="49"/>
                        </a:cubicBezTo>
                        <a:cubicBezTo>
                          <a:pt x="47" y="49"/>
                          <a:pt x="50" y="47"/>
                          <a:pt x="50" y="44"/>
                        </a:cubicBezTo>
                        <a:cubicBezTo>
                          <a:pt x="50" y="32"/>
                          <a:pt x="50" y="32"/>
                          <a:pt x="50" y="32"/>
                        </a:cubicBezTo>
                        <a:cubicBezTo>
                          <a:pt x="236" y="32"/>
                          <a:pt x="236" y="32"/>
                          <a:pt x="236" y="32"/>
                        </a:cubicBezTo>
                        <a:cubicBezTo>
                          <a:pt x="256" y="32"/>
                          <a:pt x="272" y="48"/>
                          <a:pt x="272" y="68"/>
                        </a:cubicBezTo>
                        <a:cubicBezTo>
                          <a:pt x="272" y="87"/>
                          <a:pt x="256" y="104"/>
                          <a:pt x="236" y="104"/>
                        </a:cubicBezTo>
                        <a:cubicBezTo>
                          <a:pt x="192" y="104"/>
                          <a:pt x="192" y="104"/>
                          <a:pt x="192" y="104"/>
                        </a:cubicBezTo>
                        <a:cubicBezTo>
                          <a:pt x="192" y="102"/>
                          <a:pt x="192" y="102"/>
                          <a:pt x="192" y="102"/>
                        </a:cubicBezTo>
                        <a:cubicBezTo>
                          <a:pt x="229" y="65"/>
                          <a:pt x="229" y="65"/>
                          <a:pt x="229" y="65"/>
                        </a:cubicBezTo>
                        <a:cubicBezTo>
                          <a:pt x="232" y="62"/>
                          <a:pt x="232" y="58"/>
                          <a:pt x="229" y="56"/>
                        </a:cubicBezTo>
                        <a:cubicBezTo>
                          <a:pt x="228" y="55"/>
                          <a:pt x="227" y="54"/>
                          <a:pt x="225" y="54"/>
                        </a:cubicBezTo>
                        <a:cubicBezTo>
                          <a:pt x="223" y="54"/>
                          <a:pt x="222" y="55"/>
                          <a:pt x="221" y="56"/>
                        </a:cubicBezTo>
                        <a:cubicBezTo>
                          <a:pt x="173" y="104"/>
                          <a:pt x="173" y="104"/>
                          <a:pt x="173" y="104"/>
                        </a:cubicBezTo>
                        <a:cubicBezTo>
                          <a:pt x="173" y="104"/>
                          <a:pt x="172" y="105"/>
                          <a:pt x="172" y="105"/>
                        </a:cubicBezTo>
                        <a:cubicBezTo>
                          <a:pt x="172" y="105"/>
                          <a:pt x="172" y="105"/>
                          <a:pt x="172" y="105"/>
                        </a:cubicBezTo>
                        <a:cubicBezTo>
                          <a:pt x="172" y="106"/>
                          <a:pt x="172" y="106"/>
                          <a:pt x="171" y="106"/>
                        </a:cubicBezTo>
                        <a:cubicBezTo>
                          <a:pt x="171" y="106"/>
                          <a:pt x="171" y="106"/>
                          <a:pt x="171" y="107"/>
                        </a:cubicBezTo>
                        <a:cubicBezTo>
                          <a:pt x="171" y="107"/>
                          <a:pt x="171" y="107"/>
                          <a:pt x="171" y="107"/>
                        </a:cubicBezTo>
                        <a:cubicBezTo>
                          <a:pt x="171" y="108"/>
                          <a:pt x="171" y="109"/>
                          <a:pt x="171" y="109"/>
                        </a:cubicBezTo>
                        <a:cubicBezTo>
                          <a:pt x="171" y="110"/>
                          <a:pt x="171" y="110"/>
                          <a:pt x="171" y="110"/>
                        </a:cubicBezTo>
                        <a:cubicBezTo>
                          <a:pt x="171" y="110"/>
                          <a:pt x="171" y="110"/>
                          <a:pt x="171" y="111"/>
                        </a:cubicBezTo>
                        <a:cubicBezTo>
                          <a:pt x="172" y="111"/>
                          <a:pt x="172" y="111"/>
                          <a:pt x="172" y="111"/>
                        </a:cubicBezTo>
                        <a:cubicBezTo>
                          <a:pt x="172" y="111"/>
                          <a:pt x="172" y="111"/>
                          <a:pt x="172" y="112"/>
                        </a:cubicBezTo>
                        <a:cubicBezTo>
                          <a:pt x="172" y="112"/>
                          <a:pt x="173" y="112"/>
                          <a:pt x="173" y="113"/>
                        </a:cubicBezTo>
                        <a:cubicBezTo>
                          <a:pt x="221" y="160"/>
                          <a:pt x="221" y="160"/>
                          <a:pt x="221" y="160"/>
                        </a:cubicBezTo>
                        <a:cubicBezTo>
                          <a:pt x="223" y="163"/>
                          <a:pt x="227" y="163"/>
                          <a:pt x="229" y="160"/>
                        </a:cubicBezTo>
                        <a:cubicBezTo>
                          <a:pt x="232" y="158"/>
                          <a:pt x="232" y="154"/>
                          <a:pt x="229" y="152"/>
                        </a:cubicBezTo>
                        <a:lnTo>
                          <a:pt x="193" y="115"/>
                        </a:lnTo>
                        <a:close/>
                        <a:moveTo>
                          <a:pt x="38" y="38"/>
                        </a:moveTo>
                        <a:cubicBezTo>
                          <a:pt x="12" y="38"/>
                          <a:pt x="12" y="38"/>
                          <a:pt x="12" y="38"/>
                        </a:cubicBezTo>
                        <a:cubicBezTo>
                          <a:pt x="12" y="11"/>
                          <a:pt x="12" y="11"/>
                          <a:pt x="12" y="11"/>
                        </a:cubicBezTo>
                        <a:cubicBezTo>
                          <a:pt x="38" y="11"/>
                          <a:pt x="38" y="11"/>
                          <a:pt x="38" y="11"/>
                        </a:cubicBezTo>
                        <a:lnTo>
                          <a:pt x="38" y="38"/>
                        </a:ln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</p:grpSp>
          </p:grpSp>
        </p:grpSp>
        <p:grpSp>
          <p:nvGrpSpPr>
            <p:cNvPr id="95" name="Group 94">
              <a:extLst>
                <a:ext uri="{FF2B5EF4-FFF2-40B4-BE49-F238E27FC236}">
                  <a16:creationId xmlns:a16="http://schemas.microsoft.com/office/drawing/2014/main" id="{B154B779-61EB-4039-BD6A-5DEAEA3195CA}"/>
                </a:ext>
              </a:extLst>
            </p:cNvPr>
            <p:cNvGrpSpPr/>
            <p:nvPr/>
          </p:nvGrpSpPr>
          <p:grpSpPr>
            <a:xfrm>
              <a:off x="6504084" y="1258764"/>
              <a:ext cx="1150433" cy="1150733"/>
              <a:chOff x="6384413" y="1816425"/>
              <a:chExt cx="1150433" cy="1150733"/>
            </a:xfrm>
          </p:grpSpPr>
          <p:sp>
            <p:nvSpPr>
              <p:cNvPr id="32" name="Oval 31">
                <a:extLst>
                  <a:ext uri="{FF2B5EF4-FFF2-40B4-BE49-F238E27FC236}">
                    <a16:creationId xmlns:a16="http://schemas.microsoft.com/office/drawing/2014/main" id="{96CC65D5-A06C-4615-901C-2B995994642B}"/>
                  </a:ext>
                </a:extLst>
              </p:cNvPr>
              <p:cNvSpPr/>
              <p:nvPr/>
            </p:nvSpPr>
            <p:spPr>
              <a:xfrm rot="623184">
                <a:off x="6384413" y="1816425"/>
                <a:ext cx="1150433" cy="1150733"/>
              </a:xfrm>
              <a:prstGeom prst="ellipse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219419" tIns="109710" rIns="219419" bIns="10971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bg-BG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33" name="Oval 32">
                <a:extLst>
                  <a:ext uri="{FF2B5EF4-FFF2-40B4-BE49-F238E27FC236}">
                    <a16:creationId xmlns:a16="http://schemas.microsoft.com/office/drawing/2014/main" id="{BAD50314-67A5-450D-9D4D-A2451713990B}"/>
                  </a:ext>
                </a:extLst>
              </p:cNvPr>
              <p:cNvSpPr/>
              <p:nvPr/>
            </p:nvSpPr>
            <p:spPr>
              <a:xfrm rot="623184">
                <a:off x="6477372" y="1909408"/>
                <a:ext cx="964514" cy="964766"/>
              </a:xfrm>
              <a:prstGeom prst="ellipse">
                <a:avLst/>
              </a:prstGeom>
              <a:solidFill>
                <a:schemeClr val="accent2">
                  <a:lumMod val="5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219419" tIns="109710" rIns="219419" bIns="10971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bg-BG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grpSp>
            <p:nvGrpSpPr>
              <p:cNvPr id="90" name="Group 40">
                <a:extLst>
                  <a:ext uri="{FF2B5EF4-FFF2-40B4-BE49-F238E27FC236}">
                    <a16:creationId xmlns:a16="http://schemas.microsoft.com/office/drawing/2014/main" id="{A497E707-E426-4619-BF7F-BE7275D86E92}"/>
                  </a:ext>
                </a:extLst>
              </p:cNvPr>
              <p:cNvGrpSpPr>
                <a:grpSpLocks noChangeAspect="1"/>
              </p:cNvGrpSpPr>
              <p:nvPr/>
            </p:nvGrpSpPr>
            <p:grpSpPr bwMode="auto">
              <a:xfrm>
                <a:off x="6732337" y="2166092"/>
                <a:ext cx="454585" cy="451399"/>
                <a:chOff x="5508" y="439"/>
                <a:chExt cx="428" cy="425"/>
              </a:xfrm>
              <a:solidFill>
                <a:schemeClr val="bg1"/>
              </a:solidFill>
            </p:grpSpPr>
            <p:sp>
              <p:nvSpPr>
                <p:cNvPr id="91" name="Freeform 41">
                  <a:extLst>
                    <a:ext uri="{FF2B5EF4-FFF2-40B4-BE49-F238E27FC236}">
                      <a16:creationId xmlns:a16="http://schemas.microsoft.com/office/drawing/2014/main" id="{DDB844D7-4B91-44D0-949B-FAB53A2A064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508" y="473"/>
                  <a:ext cx="355" cy="391"/>
                </a:xfrm>
                <a:custGeom>
                  <a:avLst/>
                  <a:gdLst>
                    <a:gd name="T0" fmla="*/ 234 w 240"/>
                    <a:gd name="T1" fmla="*/ 264 h 264"/>
                    <a:gd name="T2" fmla="*/ 6 w 240"/>
                    <a:gd name="T3" fmla="*/ 264 h 264"/>
                    <a:gd name="T4" fmla="*/ 0 w 240"/>
                    <a:gd name="T5" fmla="*/ 258 h 264"/>
                    <a:gd name="T6" fmla="*/ 0 w 240"/>
                    <a:gd name="T7" fmla="*/ 6 h 264"/>
                    <a:gd name="T8" fmla="*/ 6 w 240"/>
                    <a:gd name="T9" fmla="*/ 0 h 264"/>
                    <a:gd name="T10" fmla="*/ 174 w 240"/>
                    <a:gd name="T11" fmla="*/ 0 h 264"/>
                    <a:gd name="T12" fmla="*/ 180 w 240"/>
                    <a:gd name="T13" fmla="*/ 6 h 264"/>
                    <a:gd name="T14" fmla="*/ 174 w 240"/>
                    <a:gd name="T15" fmla="*/ 12 h 264"/>
                    <a:gd name="T16" fmla="*/ 12 w 240"/>
                    <a:gd name="T17" fmla="*/ 12 h 264"/>
                    <a:gd name="T18" fmla="*/ 12 w 240"/>
                    <a:gd name="T19" fmla="*/ 252 h 264"/>
                    <a:gd name="T20" fmla="*/ 228 w 240"/>
                    <a:gd name="T21" fmla="*/ 252 h 264"/>
                    <a:gd name="T22" fmla="*/ 228 w 240"/>
                    <a:gd name="T23" fmla="*/ 114 h 264"/>
                    <a:gd name="T24" fmla="*/ 234 w 240"/>
                    <a:gd name="T25" fmla="*/ 108 h 264"/>
                    <a:gd name="T26" fmla="*/ 240 w 240"/>
                    <a:gd name="T27" fmla="*/ 114 h 264"/>
                    <a:gd name="T28" fmla="*/ 240 w 240"/>
                    <a:gd name="T29" fmla="*/ 258 h 264"/>
                    <a:gd name="T30" fmla="*/ 234 w 240"/>
                    <a:gd name="T31" fmla="*/ 264 h 26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</a:cxnLst>
                  <a:rect l="0" t="0" r="r" b="b"/>
                  <a:pathLst>
                    <a:path w="240" h="264">
                      <a:moveTo>
                        <a:pt x="234" y="264"/>
                      </a:moveTo>
                      <a:cubicBezTo>
                        <a:pt x="6" y="264"/>
                        <a:pt x="6" y="264"/>
                        <a:pt x="6" y="264"/>
                      </a:cubicBezTo>
                      <a:cubicBezTo>
                        <a:pt x="3" y="264"/>
                        <a:pt x="0" y="262"/>
                        <a:pt x="0" y="258"/>
                      </a:cubicBezTo>
                      <a:cubicBezTo>
                        <a:pt x="0" y="6"/>
                        <a:pt x="0" y="6"/>
                        <a:pt x="0" y="6"/>
                      </a:cubicBezTo>
                      <a:cubicBezTo>
                        <a:pt x="0" y="3"/>
                        <a:pt x="3" y="0"/>
                        <a:pt x="6" y="0"/>
                      </a:cubicBezTo>
                      <a:cubicBezTo>
                        <a:pt x="174" y="0"/>
                        <a:pt x="174" y="0"/>
                        <a:pt x="174" y="0"/>
                      </a:cubicBezTo>
                      <a:cubicBezTo>
                        <a:pt x="178" y="0"/>
                        <a:pt x="180" y="3"/>
                        <a:pt x="180" y="6"/>
                      </a:cubicBezTo>
                      <a:cubicBezTo>
                        <a:pt x="180" y="10"/>
                        <a:pt x="178" y="12"/>
                        <a:pt x="174" y="12"/>
                      </a:cubicBezTo>
                      <a:cubicBezTo>
                        <a:pt x="12" y="12"/>
                        <a:pt x="12" y="12"/>
                        <a:pt x="12" y="12"/>
                      </a:cubicBezTo>
                      <a:cubicBezTo>
                        <a:pt x="12" y="252"/>
                        <a:pt x="12" y="252"/>
                        <a:pt x="12" y="252"/>
                      </a:cubicBezTo>
                      <a:cubicBezTo>
                        <a:pt x="228" y="252"/>
                        <a:pt x="228" y="252"/>
                        <a:pt x="228" y="252"/>
                      </a:cubicBezTo>
                      <a:cubicBezTo>
                        <a:pt x="228" y="114"/>
                        <a:pt x="228" y="114"/>
                        <a:pt x="228" y="114"/>
                      </a:cubicBezTo>
                      <a:cubicBezTo>
                        <a:pt x="228" y="111"/>
                        <a:pt x="231" y="108"/>
                        <a:pt x="234" y="108"/>
                      </a:cubicBezTo>
                      <a:cubicBezTo>
                        <a:pt x="238" y="108"/>
                        <a:pt x="240" y="111"/>
                        <a:pt x="240" y="114"/>
                      </a:cubicBezTo>
                      <a:cubicBezTo>
                        <a:pt x="240" y="258"/>
                        <a:pt x="240" y="258"/>
                        <a:pt x="240" y="258"/>
                      </a:cubicBezTo>
                      <a:cubicBezTo>
                        <a:pt x="240" y="262"/>
                        <a:pt x="238" y="264"/>
                        <a:pt x="234" y="264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AU"/>
                </a:p>
              </p:txBody>
            </p:sp>
            <p:sp>
              <p:nvSpPr>
                <p:cNvPr id="92" name="Freeform 42">
                  <a:extLst>
                    <a:ext uri="{FF2B5EF4-FFF2-40B4-BE49-F238E27FC236}">
                      <a16:creationId xmlns:a16="http://schemas.microsoft.com/office/drawing/2014/main" id="{8A447F4C-108A-40C1-837C-AD010AB5CA6F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5638" y="439"/>
                  <a:ext cx="298" cy="294"/>
                </a:xfrm>
                <a:custGeom>
                  <a:avLst/>
                  <a:gdLst>
                    <a:gd name="T0" fmla="*/ 7 w 201"/>
                    <a:gd name="T1" fmla="*/ 199 h 199"/>
                    <a:gd name="T2" fmla="*/ 3 w 201"/>
                    <a:gd name="T3" fmla="*/ 198 h 199"/>
                    <a:gd name="T4" fmla="*/ 1 w 201"/>
                    <a:gd name="T5" fmla="*/ 191 h 199"/>
                    <a:gd name="T6" fmla="*/ 27 w 201"/>
                    <a:gd name="T7" fmla="*/ 132 h 199"/>
                    <a:gd name="T8" fmla="*/ 28 w 201"/>
                    <a:gd name="T9" fmla="*/ 130 h 199"/>
                    <a:gd name="T10" fmla="*/ 156 w 201"/>
                    <a:gd name="T11" fmla="*/ 2 h 199"/>
                    <a:gd name="T12" fmla="*/ 161 w 201"/>
                    <a:gd name="T13" fmla="*/ 0 h 199"/>
                    <a:gd name="T14" fmla="*/ 161 w 201"/>
                    <a:gd name="T15" fmla="*/ 0 h 199"/>
                    <a:gd name="T16" fmla="*/ 165 w 201"/>
                    <a:gd name="T17" fmla="*/ 2 h 199"/>
                    <a:gd name="T18" fmla="*/ 199 w 201"/>
                    <a:gd name="T19" fmla="*/ 36 h 199"/>
                    <a:gd name="T20" fmla="*/ 199 w 201"/>
                    <a:gd name="T21" fmla="*/ 44 h 199"/>
                    <a:gd name="T22" fmla="*/ 71 w 201"/>
                    <a:gd name="T23" fmla="*/ 172 h 199"/>
                    <a:gd name="T24" fmla="*/ 69 w 201"/>
                    <a:gd name="T25" fmla="*/ 174 h 199"/>
                    <a:gd name="T26" fmla="*/ 9 w 201"/>
                    <a:gd name="T27" fmla="*/ 199 h 199"/>
                    <a:gd name="T28" fmla="*/ 7 w 201"/>
                    <a:gd name="T29" fmla="*/ 199 h 199"/>
                    <a:gd name="T30" fmla="*/ 37 w 201"/>
                    <a:gd name="T31" fmla="*/ 137 h 199"/>
                    <a:gd name="T32" fmla="*/ 18 w 201"/>
                    <a:gd name="T33" fmla="*/ 182 h 199"/>
                    <a:gd name="T34" fmla="*/ 63 w 201"/>
                    <a:gd name="T35" fmla="*/ 163 h 199"/>
                    <a:gd name="T36" fmla="*/ 186 w 201"/>
                    <a:gd name="T37" fmla="*/ 40 h 199"/>
                    <a:gd name="T38" fmla="*/ 161 w 201"/>
                    <a:gd name="T39" fmla="*/ 14 h 199"/>
                    <a:gd name="T40" fmla="*/ 37 w 201"/>
                    <a:gd name="T41" fmla="*/ 137 h 199"/>
                    <a:gd name="T42" fmla="*/ 66 w 201"/>
                    <a:gd name="T43" fmla="*/ 168 h 199"/>
                    <a:gd name="T44" fmla="*/ 66 w 201"/>
                    <a:gd name="T45" fmla="*/ 168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</a:cxnLst>
                  <a:rect l="0" t="0" r="r" b="b"/>
                  <a:pathLst>
                    <a:path w="201" h="199">
                      <a:moveTo>
                        <a:pt x="7" y="199"/>
                      </a:moveTo>
                      <a:cubicBezTo>
                        <a:pt x="5" y="199"/>
                        <a:pt x="4" y="199"/>
                        <a:pt x="3" y="198"/>
                      </a:cubicBezTo>
                      <a:cubicBezTo>
                        <a:pt x="1" y="196"/>
                        <a:pt x="0" y="193"/>
                        <a:pt x="1" y="191"/>
                      </a:cubicBezTo>
                      <a:cubicBezTo>
                        <a:pt x="27" y="132"/>
                        <a:pt x="27" y="132"/>
                        <a:pt x="27" y="132"/>
                      </a:cubicBezTo>
                      <a:cubicBezTo>
                        <a:pt x="27" y="131"/>
                        <a:pt x="28" y="130"/>
                        <a:pt x="28" y="130"/>
                      </a:cubicBezTo>
                      <a:cubicBezTo>
                        <a:pt x="156" y="2"/>
                        <a:pt x="156" y="2"/>
                        <a:pt x="156" y="2"/>
                      </a:cubicBezTo>
                      <a:cubicBezTo>
                        <a:pt x="157" y="1"/>
                        <a:pt x="159" y="0"/>
                        <a:pt x="161" y="0"/>
                      </a:cubicBezTo>
                      <a:cubicBezTo>
                        <a:pt x="161" y="0"/>
                        <a:pt x="161" y="0"/>
                        <a:pt x="161" y="0"/>
                      </a:cubicBezTo>
                      <a:cubicBezTo>
                        <a:pt x="162" y="0"/>
                        <a:pt x="164" y="1"/>
                        <a:pt x="165" y="2"/>
                      </a:cubicBezTo>
                      <a:cubicBezTo>
                        <a:pt x="199" y="36"/>
                        <a:pt x="199" y="36"/>
                        <a:pt x="199" y="36"/>
                      </a:cubicBezTo>
                      <a:cubicBezTo>
                        <a:pt x="201" y="38"/>
                        <a:pt x="201" y="42"/>
                        <a:pt x="199" y="44"/>
                      </a:cubicBezTo>
                      <a:cubicBezTo>
                        <a:pt x="71" y="172"/>
                        <a:pt x="71" y="172"/>
                        <a:pt x="71" y="172"/>
                      </a:cubicBezTo>
                      <a:cubicBezTo>
                        <a:pt x="70" y="173"/>
                        <a:pt x="69" y="173"/>
                        <a:pt x="69" y="174"/>
                      </a:cubicBezTo>
                      <a:cubicBezTo>
                        <a:pt x="9" y="199"/>
                        <a:pt x="9" y="199"/>
                        <a:pt x="9" y="199"/>
                      </a:cubicBezTo>
                      <a:cubicBezTo>
                        <a:pt x="9" y="199"/>
                        <a:pt x="8" y="199"/>
                        <a:pt x="7" y="199"/>
                      </a:cubicBezTo>
                      <a:close/>
                      <a:moveTo>
                        <a:pt x="37" y="137"/>
                      </a:moveTo>
                      <a:cubicBezTo>
                        <a:pt x="18" y="182"/>
                        <a:pt x="18" y="182"/>
                        <a:pt x="18" y="182"/>
                      </a:cubicBezTo>
                      <a:cubicBezTo>
                        <a:pt x="63" y="163"/>
                        <a:pt x="63" y="163"/>
                        <a:pt x="63" y="163"/>
                      </a:cubicBezTo>
                      <a:cubicBezTo>
                        <a:pt x="186" y="40"/>
                        <a:pt x="186" y="40"/>
                        <a:pt x="186" y="40"/>
                      </a:cubicBezTo>
                      <a:cubicBezTo>
                        <a:pt x="161" y="14"/>
                        <a:pt x="161" y="14"/>
                        <a:pt x="161" y="14"/>
                      </a:cubicBezTo>
                      <a:lnTo>
                        <a:pt x="37" y="137"/>
                      </a:lnTo>
                      <a:close/>
                      <a:moveTo>
                        <a:pt x="66" y="168"/>
                      </a:moveTo>
                      <a:cubicBezTo>
                        <a:pt x="66" y="168"/>
                        <a:pt x="66" y="168"/>
                        <a:pt x="66" y="168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AU"/>
                </a:p>
              </p:txBody>
            </p:sp>
            <p:sp>
              <p:nvSpPr>
                <p:cNvPr id="93" name="Freeform 43">
                  <a:extLst>
                    <a:ext uri="{FF2B5EF4-FFF2-40B4-BE49-F238E27FC236}">
                      <a16:creationId xmlns:a16="http://schemas.microsoft.com/office/drawing/2014/main" id="{DE4A95D1-B72A-4E6A-8A68-326CBB02DCB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834" y="470"/>
                  <a:ext cx="69" cy="70"/>
                </a:xfrm>
                <a:custGeom>
                  <a:avLst/>
                  <a:gdLst>
                    <a:gd name="T0" fmla="*/ 40 w 47"/>
                    <a:gd name="T1" fmla="*/ 47 h 47"/>
                    <a:gd name="T2" fmla="*/ 36 w 47"/>
                    <a:gd name="T3" fmla="*/ 45 h 47"/>
                    <a:gd name="T4" fmla="*/ 2 w 47"/>
                    <a:gd name="T5" fmla="*/ 11 h 47"/>
                    <a:gd name="T6" fmla="*/ 2 w 47"/>
                    <a:gd name="T7" fmla="*/ 3 h 47"/>
                    <a:gd name="T8" fmla="*/ 11 w 47"/>
                    <a:gd name="T9" fmla="*/ 3 h 47"/>
                    <a:gd name="T10" fmla="*/ 45 w 47"/>
                    <a:gd name="T11" fmla="*/ 37 h 47"/>
                    <a:gd name="T12" fmla="*/ 45 w 47"/>
                    <a:gd name="T13" fmla="*/ 45 h 47"/>
                    <a:gd name="T14" fmla="*/ 40 w 47"/>
                    <a:gd name="T15" fmla="*/ 47 h 4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47" h="47">
                      <a:moveTo>
                        <a:pt x="40" y="47"/>
                      </a:moveTo>
                      <a:cubicBezTo>
                        <a:pt x="39" y="47"/>
                        <a:pt x="37" y="46"/>
                        <a:pt x="36" y="45"/>
                      </a:cubicBezTo>
                      <a:cubicBezTo>
                        <a:pt x="2" y="11"/>
                        <a:pt x="2" y="11"/>
                        <a:pt x="2" y="11"/>
                      </a:cubicBezTo>
                      <a:cubicBezTo>
                        <a:pt x="0" y="9"/>
                        <a:pt x="0" y="5"/>
                        <a:pt x="2" y="3"/>
                      </a:cubicBezTo>
                      <a:cubicBezTo>
                        <a:pt x="5" y="0"/>
                        <a:pt x="8" y="0"/>
                        <a:pt x="11" y="3"/>
                      </a:cubicBezTo>
                      <a:cubicBezTo>
                        <a:pt x="45" y="37"/>
                        <a:pt x="45" y="37"/>
                        <a:pt x="45" y="37"/>
                      </a:cubicBezTo>
                      <a:cubicBezTo>
                        <a:pt x="47" y="39"/>
                        <a:pt x="47" y="43"/>
                        <a:pt x="45" y="45"/>
                      </a:cubicBezTo>
                      <a:cubicBezTo>
                        <a:pt x="44" y="46"/>
                        <a:pt x="42" y="47"/>
                        <a:pt x="40" y="4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AU"/>
                </a:p>
              </p:txBody>
            </p:sp>
            <p:sp>
              <p:nvSpPr>
                <p:cNvPr id="94" name="Freeform 44">
                  <a:extLst>
                    <a:ext uri="{FF2B5EF4-FFF2-40B4-BE49-F238E27FC236}">
                      <a16:creationId xmlns:a16="http://schemas.microsoft.com/office/drawing/2014/main" id="{990DB296-CBC6-46DC-8AC7-743918F9BE6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677" y="627"/>
                  <a:ext cx="69" cy="69"/>
                </a:xfrm>
                <a:custGeom>
                  <a:avLst/>
                  <a:gdLst>
                    <a:gd name="T0" fmla="*/ 40 w 47"/>
                    <a:gd name="T1" fmla="*/ 47 h 47"/>
                    <a:gd name="T2" fmla="*/ 36 w 47"/>
                    <a:gd name="T3" fmla="*/ 45 h 47"/>
                    <a:gd name="T4" fmla="*/ 2 w 47"/>
                    <a:gd name="T5" fmla="*/ 11 h 47"/>
                    <a:gd name="T6" fmla="*/ 2 w 47"/>
                    <a:gd name="T7" fmla="*/ 3 h 47"/>
                    <a:gd name="T8" fmla="*/ 11 w 47"/>
                    <a:gd name="T9" fmla="*/ 3 h 47"/>
                    <a:gd name="T10" fmla="*/ 45 w 47"/>
                    <a:gd name="T11" fmla="*/ 37 h 47"/>
                    <a:gd name="T12" fmla="*/ 45 w 47"/>
                    <a:gd name="T13" fmla="*/ 45 h 47"/>
                    <a:gd name="T14" fmla="*/ 40 w 47"/>
                    <a:gd name="T15" fmla="*/ 47 h 4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47" h="47">
                      <a:moveTo>
                        <a:pt x="40" y="47"/>
                      </a:moveTo>
                      <a:cubicBezTo>
                        <a:pt x="39" y="47"/>
                        <a:pt x="37" y="46"/>
                        <a:pt x="36" y="45"/>
                      </a:cubicBezTo>
                      <a:cubicBezTo>
                        <a:pt x="2" y="11"/>
                        <a:pt x="2" y="11"/>
                        <a:pt x="2" y="11"/>
                      </a:cubicBezTo>
                      <a:cubicBezTo>
                        <a:pt x="0" y="9"/>
                        <a:pt x="0" y="5"/>
                        <a:pt x="2" y="3"/>
                      </a:cubicBezTo>
                      <a:cubicBezTo>
                        <a:pt x="4" y="0"/>
                        <a:pt x="8" y="0"/>
                        <a:pt x="11" y="3"/>
                      </a:cubicBezTo>
                      <a:cubicBezTo>
                        <a:pt x="45" y="37"/>
                        <a:pt x="45" y="37"/>
                        <a:pt x="45" y="37"/>
                      </a:cubicBezTo>
                      <a:cubicBezTo>
                        <a:pt x="47" y="39"/>
                        <a:pt x="47" y="43"/>
                        <a:pt x="45" y="45"/>
                      </a:cubicBezTo>
                      <a:cubicBezTo>
                        <a:pt x="43" y="46"/>
                        <a:pt x="42" y="47"/>
                        <a:pt x="40" y="4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AU"/>
                </a:p>
              </p:txBody>
            </p:sp>
          </p:grpSp>
        </p:grpSp>
        <p:sp>
          <p:nvSpPr>
            <p:cNvPr id="108" name="AutoShape 4">
              <a:extLst>
                <a:ext uri="{FF2B5EF4-FFF2-40B4-BE49-F238E27FC236}">
                  <a16:creationId xmlns:a16="http://schemas.microsoft.com/office/drawing/2014/main" id="{B94A7F82-5879-4F86-8F5E-F6CAAEF30AB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65155" y="5411927"/>
              <a:ext cx="5039971" cy="24622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108000" tIns="0" rIns="0" bIns="0" anchor="ctr">
              <a:spAutoFit/>
            </a:bodyPr>
            <a:lstStyle/>
            <a:p>
              <a:pPr marL="0" marR="0" lvl="0" indent="0" algn="l" defTabSz="914400" rtl="0" eaLnBrk="0" fontAlgn="auto" latinLnBrk="0" hangingPunct="0">
                <a:lnSpc>
                  <a:spcPct val="100000"/>
                </a:lnSpc>
                <a:spcBef>
                  <a:spcPts val="200"/>
                </a:spcBef>
                <a:spcAft>
                  <a:spcPts val="2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600" b="1" i="0" u="none" strike="noStrike" kern="1200" cap="none" spc="0" normalizeH="0" baseline="0" noProof="0" dirty="0">
                  <a:ln>
                    <a:noFill/>
                  </a:ln>
                  <a:solidFill>
                    <a:schemeClr val="accent2">
                      <a:lumMod val="50000"/>
                    </a:schemeClr>
                  </a:solidFill>
                  <a:effectLst/>
                  <a:uLnTx/>
                  <a:uFillTx/>
                  <a:latin typeface="Arial Black" panose="020B0A04020102020204" pitchFamily="34" charset="0"/>
                  <a:ea typeface="+mn-ea"/>
                  <a:cs typeface="+mn-cs"/>
                </a:rPr>
                <a:t>Go-Live</a:t>
              </a:r>
              <a:endPara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chemeClr val="accent2">
                    <a:lumMod val="50000"/>
                  </a:schemeClr>
                </a:solidFill>
                <a:effectLst/>
                <a:uLnTx/>
                <a:uFillTx/>
                <a:latin typeface="Arial Black" panose="020B0A04020102020204" pitchFamily="34" charset="0"/>
              </a:endParaRPr>
            </a:p>
          </p:txBody>
        </p:sp>
        <p:grpSp>
          <p:nvGrpSpPr>
            <p:cNvPr id="126" name="Group 125">
              <a:extLst>
                <a:ext uri="{FF2B5EF4-FFF2-40B4-BE49-F238E27FC236}">
                  <a16:creationId xmlns:a16="http://schemas.microsoft.com/office/drawing/2014/main" id="{0FB29E3D-881A-49EC-97A3-5445834158F0}"/>
                </a:ext>
              </a:extLst>
            </p:cNvPr>
            <p:cNvGrpSpPr/>
            <p:nvPr/>
          </p:nvGrpSpPr>
          <p:grpSpPr>
            <a:xfrm>
              <a:off x="495055" y="4959672"/>
              <a:ext cx="1150433" cy="1150733"/>
              <a:chOff x="1674169" y="5326497"/>
              <a:chExt cx="1150433" cy="1150733"/>
            </a:xfrm>
          </p:grpSpPr>
          <p:sp>
            <p:nvSpPr>
              <p:cNvPr id="111" name="Oval 110">
                <a:extLst>
                  <a:ext uri="{FF2B5EF4-FFF2-40B4-BE49-F238E27FC236}">
                    <a16:creationId xmlns:a16="http://schemas.microsoft.com/office/drawing/2014/main" id="{3F12AACE-A124-4155-82ED-A6CECB3C2780}"/>
                  </a:ext>
                </a:extLst>
              </p:cNvPr>
              <p:cNvSpPr/>
              <p:nvPr/>
            </p:nvSpPr>
            <p:spPr>
              <a:xfrm rot="623184">
                <a:off x="1674169" y="5326497"/>
                <a:ext cx="1150433" cy="1150733"/>
              </a:xfrm>
              <a:prstGeom prst="ellipse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219419" tIns="109710" rIns="219419" bIns="10971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bg-BG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112" name="Oval 111">
                <a:extLst>
                  <a:ext uri="{FF2B5EF4-FFF2-40B4-BE49-F238E27FC236}">
                    <a16:creationId xmlns:a16="http://schemas.microsoft.com/office/drawing/2014/main" id="{CCF86CCA-A1D1-4D97-A6B8-75EA84171D4B}"/>
                  </a:ext>
                </a:extLst>
              </p:cNvPr>
              <p:cNvSpPr/>
              <p:nvPr/>
            </p:nvSpPr>
            <p:spPr>
              <a:xfrm rot="623184">
                <a:off x="1767128" y="5419480"/>
                <a:ext cx="964514" cy="964766"/>
              </a:xfrm>
              <a:prstGeom prst="ellipse">
                <a:avLst/>
              </a:prstGeom>
              <a:solidFill>
                <a:schemeClr val="accent2">
                  <a:lumMod val="5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219419" tIns="109710" rIns="219419" bIns="10971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bg-BG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125" name="Freeform 29">
                <a:extLst>
                  <a:ext uri="{FF2B5EF4-FFF2-40B4-BE49-F238E27FC236}">
                    <a16:creationId xmlns:a16="http://schemas.microsoft.com/office/drawing/2014/main" id="{9990596E-6501-49E2-A107-0995A5B4F23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081201" y="5656761"/>
                <a:ext cx="336368" cy="490204"/>
              </a:xfrm>
              <a:custGeom>
                <a:avLst/>
                <a:gdLst>
                  <a:gd name="T0" fmla="*/ 32 w 198"/>
                  <a:gd name="T1" fmla="*/ 288 h 288"/>
                  <a:gd name="T2" fmla="*/ 32 w 198"/>
                  <a:gd name="T3" fmla="*/ 288 h 288"/>
                  <a:gd name="T4" fmla="*/ 28 w 198"/>
                  <a:gd name="T5" fmla="*/ 286 h 288"/>
                  <a:gd name="T6" fmla="*/ 1 w 198"/>
                  <a:gd name="T7" fmla="*/ 255 h 288"/>
                  <a:gd name="T8" fmla="*/ 0 w 198"/>
                  <a:gd name="T9" fmla="*/ 250 h 288"/>
                  <a:gd name="T10" fmla="*/ 2 w 198"/>
                  <a:gd name="T11" fmla="*/ 246 h 288"/>
                  <a:gd name="T12" fmla="*/ 122 w 198"/>
                  <a:gd name="T13" fmla="*/ 144 h 288"/>
                  <a:gd name="T14" fmla="*/ 2 w 198"/>
                  <a:gd name="T15" fmla="*/ 41 h 288"/>
                  <a:gd name="T16" fmla="*/ 0 w 198"/>
                  <a:gd name="T17" fmla="*/ 37 h 288"/>
                  <a:gd name="T18" fmla="*/ 1 w 198"/>
                  <a:gd name="T19" fmla="*/ 33 h 288"/>
                  <a:gd name="T20" fmla="*/ 28 w 198"/>
                  <a:gd name="T21" fmla="*/ 2 h 288"/>
                  <a:gd name="T22" fmla="*/ 32 w 198"/>
                  <a:gd name="T23" fmla="*/ 0 h 288"/>
                  <a:gd name="T24" fmla="*/ 36 w 198"/>
                  <a:gd name="T25" fmla="*/ 1 h 288"/>
                  <a:gd name="T26" fmla="*/ 196 w 198"/>
                  <a:gd name="T27" fmla="*/ 139 h 288"/>
                  <a:gd name="T28" fmla="*/ 198 w 198"/>
                  <a:gd name="T29" fmla="*/ 144 h 288"/>
                  <a:gd name="T30" fmla="*/ 196 w 198"/>
                  <a:gd name="T31" fmla="*/ 148 h 288"/>
                  <a:gd name="T32" fmla="*/ 36 w 198"/>
                  <a:gd name="T33" fmla="*/ 286 h 288"/>
                  <a:gd name="T34" fmla="*/ 32 w 198"/>
                  <a:gd name="T35" fmla="*/ 288 h 288"/>
                  <a:gd name="T36" fmla="*/ 14 w 198"/>
                  <a:gd name="T37" fmla="*/ 252 h 288"/>
                  <a:gd name="T38" fmla="*/ 33 w 198"/>
                  <a:gd name="T39" fmla="*/ 273 h 288"/>
                  <a:gd name="T40" fmla="*/ 182 w 198"/>
                  <a:gd name="T41" fmla="*/ 144 h 288"/>
                  <a:gd name="T42" fmla="*/ 33 w 198"/>
                  <a:gd name="T43" fmla="*/ 14 h 288"/>
                  <a:gd name="T44" fmla="*/ 14 w 198"/>
                  <a:gd name="T45" fmla="*/ 36 h 288"/>
                  <a:gd name="T46" fmla="*/ 136 w 198"/>
                  <a:gd name="T47" fmla="*/ 139 h 288"/>
                  <a:gd name="T48" fmla="*/ 138 w 198"/>
                  <a:gd name="T49" fmla="*/ 144 h 288"/>
                  <a:gd name="T50" fmla="*/ 136 w 198"/>
                  <a:gd name="T51" fmla="*/ 148 h 288"/>
                  <a:gd name="T52" fmla="*/ 14 w 198"/>
                  <a:gd name="T53" fmla="*/ 252 h 2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198" h="288">
                    <a:moveTo>
                      <a:pt x="32" y="288"/>
                    </a:moveTo>
                    <a:cubicBezTo>
                      <a:pt x="32" y="288"/>
                      <a:pt x="32" y="288"/>
                      <a:pt x="32" y="288"/>
                    </a:cubicBezTo>
                    <a:cubicBezTo>
                      <a:pt x="30" y="288"/>
                      <a:pt x="29" y="287"/>
                      <a:pt x="28" y="286"/>
                    </a:cubicBezTo>
                    <a:cubicBezTo>
                      <a:pt x="1" y="255"/>
                      <a:pt x="1" y="255"/>
                      <a:pt x="1" y="255"/>
                    </a:cubicBezTo>
                    <a:cubicBezTo>
                      <a:pt x="0" y="254"/>
                      <a:pt x="0" y="252"/>
                      <a:pt x="0" y="250"/>
                    </a:cubicBezTo>
                    <a:cubicBezTo>
                      <a:pt x="0" y="249"/>
                      <a:pt x="1" y="247"/>
                      <a:pt x="2" y="246"/>
                    </a:cubicBezTo>
                    <a:cubicBezTo>
                      <a:pt x="122" y="144"/>
                      <a:pt x="122" y="144"/>
                      <a:pt x="122" y="144"/>
                    </a:cubicBezTo>
                    <a:cubicBezTo>
                      <a:pt x="2" y="41"/>
                      <a:pt x="2" y="41"/>
                      <a:pt x="2" y="41"/>
                    </a:cubicBezTo>
                    <a:cubicBezTo>
                      <a:pt x="1" y="40"/>
                      <a:pt x="0" y="39"/>
                      <a:pt x="0" y="37"/>
                    </a:cubicBezTo>
                    <a:cubicBezTo>
                      <a:pt x="0" y="36"/>
                      <a:pt x="0" y="34"/>
                      <a:pt x="1" y="33"/>
                    </a:cubicBezTo>
                    <a:cubicBezTo>
                      <a:pt x="28" y="2"/>
                      <a:pt x="28" y="2"/>
                      <a:pt x="28" y="2"/>
                    </a:cubicBezTo>
                    <a:cubicBezTo>
                      <a:pt x="29" y="1"/>
                      <a:pt x="30" y="0"/>
                      <a:pt x="32" y="0"/>
                    </a:cubicBezTo>
                    <a:cubicBezTo>
                      <a:pt x="33" y="0"/>
                      <a:pt x="35" y="0"/>
                      <a:pt x="36" y="1"/>
                    </a:cubicBezTo>
                    <a:cubicBezTo>
                      <a:pt x="196" y="139"/>
                      <a:pt x="196" y="139"/>
                      <a:pt x="196" y="139"/>
                    </a:cubicBezTo>
                    <a:cubicBezTo>
                      <a:pt x="197" y="140"/>
                      <a:pt x="198" y="142"/>
                      <a:pt x="198" y="144"/>
                    </a:cubicBezTo>
                    <a:cubicBezTo>
                      <a:pt x="198" y="146"/>
                      <a:pt x="197" y="147"/>
                      <a:pt x="196" y="148"/>
                    </a:cubicBezTo>
                    <a:cubicBezTo>
                      <a:pt x="36" y="286"/>
                      <a:pt x="36" y="286"/>
                      <a:pt x="36" y="286"/>
                    </a:cubicBezTo>
                    <a:cubicBezTo>
                      <a:pt x="35" y="287"/>
                      <a:pt x="34" y="288"/>
                      <a:pt x="32" y="288"/>
                    </a:cubicBezTo>
                    <a:close/>
                    <a:moveTo>
                      <a:pt x="14" y="252"/>
                    </a:moveTo>
                    <a:cubicBezTo>
                      <a:pt x="33" y="273"/>
                      <a:pt x="33" y="273"/>
                      <a:pt x="33" y="273"/>
                    </a:cubicBezTo>
                    <a:cubicBezTo>
                      <a:pt x="182" y="144"/>
                      <a:pt x="182" y="144"/>
                      <a:pt x="182" y="144"/>
                    </a:cubicBezTo>
                    <a:cubicBezTo>
                      <a:pt x="33" y="14"/>
                      <a:pt x="33" y="14"/>
                      <a:pt x="33" y="14"/>
                    </a:cubicBezTo>
                    <a:cubicBezTo>
                      <a:pt x="14" y="36"/>
                      <a:pt x="14" y="36"/>
                      <a:pt x="14" y="36"/>
                    </a:cubicBezTo>
                    <a:cubicBezTo>
                      <a:pt x="136" y="139"/>
                      <a:pt x="136" y="139"/>
                      <a:pt x="136" y="139"/>
                    </a:cubicBezTo>
                    <a:cubicBezTo>
                      <a:pt x="137" y="140"/>
                      <a:pt x="138" y="142"/>
                      <a:pt x="138" y="144"/>
                    </a:cubicBezTo>
                    <a:cubicBezTo>
                      <a:pt x="138" y="146"/>
                      <a:pt x="137" y="147"/>
                      <a:pt x="136" y="148"/>
                    </a:cubicBezTo>
                    <a:lnTo>
                      <a:pt x="14" y="252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</p:grpSp>
        <p:cxnSp>
          <p:nvCxnSpPr>
            <p:cNvPr id="138" name="Straight Arrow Connector 137">
              <a:extLst>
                <a:ext uri="{FF2B5EF4-FFF2-40B4-BE49-F238E27FC236}">
                  <a16:creationId xmlns:a16="http://schemas.microsoft.com/office/drawing/2014/main" id="{FE682619-F2F5-4171-93A8-19C7E4A31847}"/>
                </a:ext>
              </a:extLst>
            </p:cNvPr>
            <p:cNvCxnSpPr>
              <a:cxnSpLocks/>
            </p:cNvCxnSpPr>
            <p:nvPr/>
          </p:nvCxnSpPr>
          <p:spPr>
            <a:xfrm>
              <a:off x="6152259" y="2759357"/>
              <a:ext cx="919667" cy="0"/>
            </a:xfrm>
            <a:prstGeom prst="straightConnector1">
              <a:avLst/>
            </a:prstGeom>
            <a:ln w="28575">
              <a:solidFill>
                <a:schemeClr val="accent2"/>
              </a:solidFill>
              <a:headEnd type="none" w="med" len="med"/>
              <a:tailEnd type="arrow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Arrow Connector 138">
              <a:extLst>
                <a:ext uri="{FF2B5EF4-FFF2-40B4-BE49-F238E27FC236}">
                  <a16:creationId xmlns:a16="http://schemas.microsoft.com/office/drawing/2014/main" id="{ED122A91-29FA-4874-AF09-1BE507366FB1}"/>
                </a:ext>
              </a:extLst>
            </p:cNvPr>
            <p:cNvCxnSpPr>
              <a:cxnSpLocks/>
            </p:cNvCxnSpPr>
            <p:nvPr/>
          </p:nvCxnSpPr>
          <p:spPr>
            <a:xfrm>
              <a:off x="4650002" y="3684584"/>
              <a:ext cx="919667" cy="0"/>
            </a:xfrm>
            <a:prstGeom prst="straightConnector1">
              <a:avLst/>
            </a:prstGeom>
            <a:ln w="28575">
              <a:solidFill>
                <a:schemeClr val="accent2"/>
              </a:solidFill>
              <a:headEnd type="none" w="med" len="med"/>
              <a:tailEnd type="arrow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Arrow Connector 139">
              <a:extLst>
                <a:ext uri="{FF2B5EF4-FFF2-40B4-BE49-F238E27FC236}">
                  <a16:creationId xmlns:a16="http://schemas.microsoft.com/office/drawing/2014/main" id="{0869FF3F-D098-4EDE-846F-6EF3E311AE5C}"/>
                </a:ext>
              </a:extLst>
            </p:cNvPr>
            <p:cNvCxnSpPr>
              <a:cxnSpLocks/>
            </p:cNvCxnSpPr>
            <p:nvPr/>
          </p:nvCxnSpPr>
          <p:spPr>
            <a:xfrm>
              <a:off x="3147745" y="4609811"/>
              <a:ext cx="919667" cy="0"/>
            </a:xfrm>
            <a:prstGeom prst="straightConnector1">
              <a:avLst/>
            </a:prstGeom>
            <a:ln w="28575">
              <a:solidFill>
                <a:schemeClr val="accent2"/>
              </a:solidFill>
              <a:headEnd type="none" w="med" len="med"/>
              <a:tailEnd type="arrow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Straight Arrow Connector 140">
              <a:extLst>
                <a:ext uri="{FF2B5EF4-FFF2-40B4-BE49-F238E27FC236}">
                  <a16:creationId xmlns:a16="http://schemas.microsoft.com/office/drawing/2014/main" id="{F18EAAB0-8522-425D-8B0B-75A26500B2FF}"/>
                </a:ext>
              </a:extLst>
            </p:cNvPr>
            <p:cNvCxnSpPr>
              <a:cxnSpLocks/>
            </p:cNvCxnSpPr>
            <p:nvPr/>
          </p:nvCxnSpPr>
          <p:spPr>
            <a:xfrm>
              <a:off x="1645488" y="5535038"/>
              <a:ext cx="919667" cy="0"/>
            </a:xfrm>
            <a:prstGeom prst="straightConnector1">
              <a:avLst/>
            </a:prstGeom>
            <a:ln w="28575">
              <a:solidFill>
                <a:schemeClr val="accent2"/>
              </a:solidFill>
              <a:headEnd type="none" w="med" len="med"/>
              <a:tailEnd type="arrow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2" name="Footer Placeholder 11">
            <a:extLst>
              <a:ext uri="{FF2B5EF4-FFF2-40B4-BE49-F238E27FC236}">
                <a16:creationId xmlns:a16="http://schemas.microsoft.com/office/drawing/2014/main" id="{FD01FF56-E3EA-C54C-A4B1-1562028A933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75384" y="6556247"/>
            <a:ext cx="6862233" cy="229563"/>
          </a:xfrm>
          <a:prstGeom prst="rect">
            <a:avLst/>
          </a:prstGeom>
        </p:spPr>
        <p:txBody>
          <a:bodyPr/>
          <a:lstStyle/>
          <a:p>
            <a:r>
              <a:rPr lang="en-US" sz="900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pyright © 2019 dual study fit. All rights reserved. </a:t>
            </a:r>
            <a:endParaRPr lang="de-DE" sz="900" dirty="0">
              <a:solidFill>
                <a:schemeClr val="bg1">
                  <a:lumMod val="6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4346412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23049492-E1DB-4F95-8377-57211C98449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700570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06"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23049492-E1DB-4F95-8377-57211C98449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9B5EAE4E-A734-4B57-9E7E-0ADFF9482A0A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de-DE" sz="2800" b="1" dirty="0">
              <a:latin typeface="Gill Sans MT" panose="020B0502020104020203" pitchFamily="34" charset="0"/>
              <a:ea typeface="+mj-ea"/>
              <a:cs typeface="+mj-cs"/>
              <a:sym typeface="Gill Sans MT" panose="020B0502020104020203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0D6F32D-ADB6-44B6-9E2C-DF587BC2746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mpetitive</a:t>
            </a:r>
            <a:r>
              <a:rPr lang="de-DE" dirty="0"/>
              <a:t> Advantages</a:t>
            </a:r>
          </a:p>
        </p:txBody>
      </p:sp>
      <p:sp>
        <p:nvSpPr>
          <p:cNvPr id="62" name="Rectangle 61">
            <a:extLst>
              <a:ext uri="{FF2B5EF4-FFF2-40B4-BE49-F238E27FC236}">
                <a16:creationId xmlns:a16="http://schemas.microsoft.com/office/drawing/2014/main" id="{7EA15234-E355-49E1-9C2A-75F7A98FB39C}"/>
              </a:ext>
            </a:extLst>
          </p:cNvPr>
          <p:cNvSpPr/>
          <p:nvPr/>
        </p:nvSpPr>
        <p:spPr>
          <a:xfrm>
            <a:off x="375384" y="1832893"/>
            <a:ext cx="3600000" cy="1080000"/>
          </a:xfrm>
          <a:prstGeom prst="rect">
            <a:avLst/>
          </a:prstGeom>
          <a:solidFill>
            <a:schemeClr val="accent2"/>
          </a:solidFill>
        </p:spPr>
        <p:txBody>
          <a:bodyPr wrap="square" lIns="274320" tIns="72000" rIns="72000" bIns="72000" anchor="ctr" anchorCtr="0">
            <a:noAutofit/>
          </a:bodyPr>
          <a:lstStyle/>
          <a:p>
            <a:pPr algn="ctr">
              <a:lnSpc>
                <a:spcPct val="90000"/>
              </a:lnSpc>
              <a:defRPr/>
            </a:pPr>
            <a:r>
              <a:rPr lang="de-DE" b="1" dirty="0">
                <a:solidFill>
                  <a:schemeClr val="bg1"/>
                </a:solidFill>
                <a:latin typeface="Arial Black" panose="020B0A04020102020204" pitchFamily="34" charset="0"/>
              </a:rPr>
              <a:t>1st </a:t>
            </a:r>
            <a:r>
              <a:rPr lang="de-DE" b="1" dirty="0" err="1">
                <a:solidFill>
                  <a:schemeClr val="bg1"/>
                </a:solidFill>
                <a:latin typeface="Arial Black" panose="020B0A04020102020204" pitchFamily="34" charset="0"/>
              </a:rPr>
              <a:t>to</a:t>
            </a:r>
            <a:r>
              <a:rPr lang="de-DE" b="1" dirty="0">
                <a:solidFill>
                  <a:schemeClr val="bg1"/>
                </a:solidFill>
                <a:latin typeface="Arial Black" panose="020B0A04020102020204" pitchFamily="34" charset="0"/>
              </a:rPr>
              <a:t> Market</a:t>
            </a:r>
          </a:p>
        </p:txBody>
      </p:sp>
      <p:sp>
        <p:nvSpPr>
          <p:cNvPr id="63" name="Rectangle 62">
            <a:extLst>
              <a:ext uri="{FF2B5EF4-FFF2-40B4-BE49-F238E27FC236}">
                <a16:creationId xmlns:a16="http://schemas.microsoft.com/office/drawing/2014/main" id="{D78CFDA7-E922-449F-A9E4-8F19555C4B1F}"/>
              </a:ext>
            </a:extLst>
          </p:cNvPr>
          <p:cNvSpPr/>
          <p:nvPr/>
        </p:nvSpPr>
        <p:spPr>
          <a:xfrm>
            <a:off x="4313697" y="1832893"/>
            <a:ext cx="3600000" cy="1080000"/>
          </a:xfrm>
          <a:prstGeom prst="rect">
            <a:avLst/>
          </a:prstGeom>
          <a:solidFill>
            <a:schemeClr val="accent2"/>
          </a:solidFill>
        </p:spPr>
        <p:txBody>
          <a:bodyPr wrap="square" lIns="274320" tIns="72000" rIns="72000" bIns="72000" anchor="ctr" anchorCtr="0">
            <a:noAutofit/>
          </a:bodyPr>
          <a:lstStyle/>
          <a:p>
            <a:pPr algn="ctr">
              <a:lnSpc>
                <a:spcPct val="90000"/>
              </a:lnSpc>
              <a:defRPr/>
            </a:pPr>
            <a:r>
              <a:rPr lang="de-DE" b="1" dirty="0">
                <a:solidFill>
                  <a:schemeClr val="bg1"/>
                </a:solidFill>
                <a:latin typeface="Arial Black" panose="020B0A04020102020204" pitchFamily="34" charset="0"/>
              </a:rPr>
              <a:t>Benutzerfreundlichkeit</a:t>
            </a:r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id="{7E78DA44-BD37-447F-A55E-FEA2657723A3}"/>
              </a:ext>
            </a:extLst>
          </p:cNvPr>
          <p:cNvSpPr/>
          <p:nvPr/>
        </p:nvSpPr>
        <p:spPr>
          <a:xfrm>
            <a:off x="375384" y="4125108"/>
            <a:ext cx="3600000" cy="1080000"/>
          </a:xfrm>
          <a:prstGeom prst="rect">
            <a:avLst/>
          </a:prstGeom>
          <a:solidFill>
            <a:schemeClr val="accent2"/>
          </a:solidFill>
        </p:spPr>
        <p:txBody>
          <a:bodyPr wrap="square" lIns="274320" tIns="72000" rIns="72000" bIns="72000" anchor="ctr" anchorCtr="0">
            <a:noAutofit/>
          </a:bodyPr>
          <a:lstStyle/>
          <a:p>
            <a:pPr algn="ctr">
              <a:lnSpc>
                <a:spcPct val="90000"/>
              </a:lnSpc>
              <a:defRPr/>
            </a:pPr>
            <a:r>
              <a:rPr lang="de-DE" b="1" dirty="0">
                <a:solidFill>
                  <a:schemeClr val="bg1"/>
                </a:solidFill>
                <a:latin typeface="Arial Black" panose="020B0A04020102020204" pitchFamily="34" charset="0"/>
              </a:rPr>
              <a:t>Design &amp; Brand</a:t>
            </a:r>
          </a:p>
        </p:txBody>
      </p:sp>
      <p:sp>
        <p:nvSpPr>
          <p:cNvPr id="65" name="Rectangle 64">
            <a:extLst>
              <a:ext uri="{FF2B5EF4-FFF2-40B4-BE49-F238E27FC236}">
                <a16:creationId xmlns:a16="http://schemas.microsoft.com/office/drawing/2014/main" id="{73099A6D-AE0E-410C-A231-F1A72326713D}"/>
              </a:ext>
            </a:extLst>
          </p:cNvPr>
          <p:cNvSpPr/>
          <p:nvPr/>
        </p:nvSpPr>
        <p:spPr>
          <a:xfrm>
            <a:off x="4313697" y="4125108"/>
            <a:ext cx="3600000" cy="1080000"/>
          </a:xfrm>
          <a:prstGeom prst="rect">
            <a:avLst/>
          </a:prstGeom>
          <a:solidFill>
            <a:schemeClr val="accent2"/>
          </a:solidFill>
        </p:spPr>
        <p:txBody>
          <a:bodyPr wrap="square" lIns="274320" tIns="72000" rIns="72000" bIns="72000" anchor="ctr" anchorCtr="0">
            <a:noAutofit/>
          </a:bodyPr>
          <a:lstStyle/>
          <a:p>
            <a:pPr algn="ctr">
              <a:lnSpc>
                <a:spcPct val="90000"/>
              </a:lnSpc>
              <a:defRPr/>
            </a:pPr>
            <a:r>
              <a:rPr lang="de-DE" b="1" dirty="0">
                <a:solidFill>
                  <a:schemeClr val="bg1"/>
                </a:solidFill>
                <a:latin typeface="Arial Black" panose="020B0A04020102020204" pitchFamily="34" charset="0"/>
              </a:rPr>
              <a:t>Profile</a:t>
            </a:r>
          </a:p>
        </p:txBody>
      </p:sp>
      <p:sp>
        <p:nvSpPr>
          <p:cNvPr id="66" name="Rectangle 65">
            <a:extLst>
              <a:ext uri="{FF2B5EF4-FFF2-40B4-BE49-F238E27FC236}">
                <a16:creationId xmlns:a16="http://schemas.microsoft.com/office/drawing/2014/main" id="{89E4111C-1581-492A-BD72-050B97E3C103}"/>
              </a:ext>
            </a:extLst>
          </p:cNvPr>
          <p:cNvSpPr/>
          <p:nvPr/>
        </p:nvSpPr>
        <p:spPr>
          <a:xfrm>
            <a:off x="8216616" y="1832893"/>
            <a:ext cx="3600000" cy="1080000"/>
          </a:xfrm>
          <a:prstGeom prst="rect">
            <a:avLst/>
          </a:prstGeom>
          <a:solidFill>
            <a:schemeClr val="accent2"/>
          </a:solidFill>
        </p:spPr>
        <p:txBody>
          <a:bodyPr wrap="square" lIns="274320" tIns="72000" rIns="72000" bIns="72000" anchor="ctr" anchorCtr="0">
            <a:noAutofit/>
          </a:bodyPr>
          <a:lstStyle/>
          <a:p>
            <a:pPr algn="ctr">
              <a:lnSpc>
                <a:spcPct val="90000"/>
              </a:lnSpc>
              <a:defRPr/>
            </a:pPr>
            <a:r>
              <a:rPr lang="de-DE" b="1" dirty="0">
                <a:solidFill>
                  <a:schemeClr val="bg1"/>
                </a:solidFill>
                <a:latin typeface="Arial Black" panose="020B0A04020102020204" pitchFamily="34" charset="0"/>
              </a:rPr>
              <a:t>Anreize für Endnutzer </a:t>
            </a:r>
          </a:p>
        </p:txBody>
      </p:sp>
      <p:sp>
        <p:nvSpPr>
          <p:cNvPr id="67" name="Rectangle 66">
            <a:extLst>
              <a:ext uri="{FF2B5EF4-FFF2-40B4-BE49-F238E27FC236}">
                <a16:creationId xmlns:a16="http://schemas.microsoft.com/office/drawing/2014/main" id="{C19FB89D-296A-455C-BA49-C1E77B6ADB49}"/>
              </a:ext>
            </a:extLst>
          </p:cNvPr>
          <p:cNvSpPr/>
          <p:nvPr/>
        </p:nvSpPr>
        <p:spPr>
          <a:xfrm>
            <a:off x="8216616" y="4125108"/>
            <a:ext cx="3600000" cy="1080000"/>
          </a:xfrm>
          <a:prstGeom prst="rect">
            <a:avLst/>
          </a:prstGeom>
          <a:solidFill>
            <a:schemeClr val="accent2"/>
          </a:solidFill>
        </p:spPr>
        <p:txBody>
          <a:bodyPr wrap="square" lIns="274320" tIns="72000" rIns="72000" bIns="72000" anchor="ctr" anchorCtr="0">
            <a:noAutofit/>
          </a:bodyPr>
          <a:lstStyle/>
          <a:p>
            <a:pPr algn="ctr">
              <a:lnSpc>
                <a:spcPct val="90000"/>
              </a:lnSpc>
              <a:defRPr/>
            </a:pPr>
            <a:r>
              <a:rPr lang="de-DE" b="1" dirty="0">
                <a:solidFill>
                  <a:schemeClr val="bg1"/>
                </a:solidFill>
                <a:latin typeface="Arial Black" panose="020B0A04020102020204" pitchFamily="34" charset="0"/>
              </a:rPr>
              <a:t>Vorteile für Partnerunternehmen</a:t>
            </a:r>
          </a:p>
        </p:txBody>
      </p:sp>
      <p:sp>
        <p:nvSpPr>
          <p:cNvPr id="11" name="Footer Placeholder 11">
            <a:extLst>
              <a:ext uri="{FF2B5EF4-FFF2-40B4-BE49-F238E27FC236}">
                <a16:creationId xmlns:a16="http://schemas.microsoft.com/office/drawing/2014/main" id="{3CD54AAE-8D20-0248-87B6-30182F3279C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75384" y="6556247"/>
            <a:ext cx="6862233" cy="229563"/>
          </a:xfrm>
          <a:prstGeom prst="rect">
            <a:avLst/>
          </a:prstGeom>
        </p:spPr>
        <p:txBody>
          <a:bodyPr/>
          <a:lstStyle/>
          <a:p>
            <a:r>
              <a:rPr lang="en-US" sz="900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pyright © 2019 dual study fit. All rights reserved. </a:t>
            </a:r>
            <a:endParaRPr lang="de-DE" sz="900" dirty="0">
              <a:solidFill>
                <a:schemeClr val="bg1">
                  <a:lumMod val="6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03137563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1805780A-45C9-46DC-B752-1641B19EABB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497422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94"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1805780A-45C9-46DC-B752-1641B19EABB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369040B4-9D8B-4A25-AEF7-A8573AD08D21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3800" dirty="0">
              <a:latin typeface="Gill Sans MT" panose="020B0502020104020203" pitchFamily="34" charset="0"/>
              <a:ea typeface="+mj-ea"/>
              <a:cs typeface="+mj-cs"/>
              <a:sym typeface="Gill Sans MT" panose="020B0502020104020203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DD7634D-3A04-4A67-ADA0-FB03D25952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Vielen Dank!</a:t>
            </a:r>
          </a:p>
        </p:txBody>
      </p:sp>
      <p:sp>
        <p:nvSpPr>
          <p:cNvPr id="5" name="Footer Placeholder 11">
            <a:extLst>
              <a:ext uri="{FF2B5EF4-FFF2-40B4-BE49-F238E27FC236}">
                <a16:creationId xmlns:a16="http://schemas.microsoft.com/office/drawing/2014/main" id="{21D5D09C-5C09-4B0E-BD7D-3ACD0F905B8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75384" y="6556247"/>
            <a:ext cx="6862233" cy="229563"/>
          </a:xfrm>
          <a:prstGeom prst="rect">
            <a:avLst/>
          </a:prstGeom>
        </p:spPr>
        <p:txBody>
          <a:bodyPr/>
          <a:lstStyle/>
          <a:p>
            <a:r>
              <a:rPr lang="en-US" sz="900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pyright © 2019 dual study fit. All rights reserved. </a:t>
            </a:r>
            <a:endParaRPr lang="de-DE" sz="900" dirty="0">
              <a:solidFill>
                <a:schemeClr val="bg1">
                  <a:lumMod val="6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00366416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1805780A-45C9-46DC-B752-1641B19EABB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18"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1805780A-45C9-46DC-B752-1641B19EABB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DD7634D-3A04-4A67-ADA0-FB03D25952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ppendix</a:t>
            </a:r>
          </a:p>
        </p:txBody>
      </p:sp>
      <p:sp>
        <p:nvSpPr>
          <p:cNvPr id="5" name="Footer Placeholder 11">
            <a:extLst>
              <a:ext uri="{FF2B5EF4-FFF2-40B4-BE49-F238E27FC236}">
                <a16:creationId xmlns:a16="http://schemas.microsoft.com/office/drawing/2014/main" id="{21D5D09C-5C09-4B0E-BD7D-3ACD0F905B8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75384" y="6556247"/>
            <a:ext cx="6862233" cy="229563"/>
          </a:xfrm>
          <a:prstGeom prst="rect">
            <a:avLst/>
          </a:prstGeom>
        </p:spPr>
        <p:txBody>
          <a:bodyPr/>
          <a:lstStyle/>
          <a:p>
            <a:r>
              <a:rPr lang="en-US" sz="900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pyright © 2019 dual study fit. All rights reserved. </a:t>
            </a:r>
            <a:endParaRPr lang="de-DE" sz="900" dirty="0">
              <a:solidFill>
                <a:schemeClr val="bg1">
                  <a:lumMod val="6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06669526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5" name="Object 34" hidden="1">
            <a:extLst>
              <a:ext uri="{FF2B5EF4-FFF2-40B4-BE49-F238E27FC236}">
                <a16:creationId xmlns:a16="http://schemas.microsoft.com/office/drawing/2014/main" id="{135D7B5F-EAFE-4212-BB3D-9D44BD65DC6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736226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42"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35" name="Object 34" hidden="1">
                        <a:extLst>
                          <a:ext uri="{FF2B5EF4-FFF2-40B4-BE49-F238E27FC236}">
                            <a16:creationId xmlns:a16="http://schemas.microsoft.com/office/drawing/2014/main" id="{135D7B5F-EAFE-4212-BB3D-9D44BD65DC6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Rectangle 33" hidden="1">
            <a:extLst>
              <a:ext uri="{FF2B5EF4-FFF2-40B4-BE49-F238E27FC236}">
                <a16:creationId xmlns:a16="http://schemas.microsoft.com/office/drawing/2014/main" id="{ED3AC54C-0385-40C9-9D82-860FBAA8C219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de-DE" sz="2800" b="1" dirty="0">
              <a:latin typeface="Gill Sans MT" panose="020B0502020104020203" pitchFamily="34" charset="0"/>
              <a:ea typeface="+mj-ea"/>
              <a:cs typeface="+mj-cs"/>
              <a:sym typeface="Gill Sans MT" panose="020B0502020104020203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E82F437-2BBB-448D-92CE-625C53518C9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5383" y="301752"/>
            <a:ext cx="11432303" cy="660774"/>
          </a:xfrm>
        </p:spPr>
        <p:txBody>
          <a:bodyPr/>
          <a:lstStyle/>
          <a:p>
            <a:r>
              <a:rPr lang="de-DE" dirty="0"/>
              <a:t>Customer Journey - Summary</a:t>
            </a:r>
          </a:p>
        </p:txBody>
      </p:sp>
      <p:sp>
        <p:nvSpPr>
          <p:cNvPr id="52" name="Arrow: Pentagon 51">
            <a:extLst>
              <a:ext uri="{FF2B5EF4-FFF2-40B4-BE49-F238E27FC236}">
                <a16:creationId xmlns:a16="http://schemas.microsoft.com/office/drawing/2014/main" id="{0AD00DAC-1473-4152-B645-EAACF05AF3C6}"/>
              </a:ext>
            </a:extLst>
          </p:cNvPr>
          <p:cNvSpPr/>
          <p:nvPr/>
        </p:nvSpPr>
        <p:spPr>
          <a:xfrm>
            <a:off x="1672285" y="2139080"/>
            <a:ext cx="2160000" cy="540000"/>
          </a:xfrm>
          <a:prstGeom prst="homePlate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600" i="1" dirty="0">
                <a:solidFill>
                  <a:schemeClr val="tx1"/>
                </a:solidFill>
              </a:rPr>
              <a:t>Aufruf der Website</a:t>
            </a:r>
          </a:p>
        </p:txBody>
      </p:sp>
      <p:sp>
        <p:nvSpPr>
          <p:cNvPr id="54" name="Arrow: Pentagon 53">
            <a:extLst>
              <a:ext uri="{FF2B5EF4-FFF2-40B4-BE49-F238E27FC236}">
                <a16:creationId xmlns:a16="http://schemas.microsoft.com/office/drawing/2014/main" id="{2FD73F6C-77A1-4323-A15F-025182EE42E9}"/>
              </a:ext>
            </a:extLst>
          </p:cNvPr>
          <p:cNvSpPr/>
          <p:nvPr/>
        </p:nvSpPr>
        <p:spPr>
          <a:xfrm>
            <a:off x="4504620" y="2139080"/>
            <a:ext cx="2160000" cy="540000"/>
          </a:xfrm>
          <a:prstGeom prst="homePlate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600" i="1" dirty="0">
                <a:solidFill>
                  <a:schemeClr val="tx1"/>
                </a:solidFill>
              </a:rPr>
              <a:t>Aufruf des </a:t>
            </a:r>
            <a:r>
              <a:rPr lang="de-DE" sz="1600" i="1" dirty="0" err="1">
                <a:solidFill>
                  <a:schemeClr val="tx1"/>
                </a:solidFill>
              </a:rPr>
              <a:t>Allocators</a:t>
            </a:r>
            <a:endParaRPr lang="de-DE" sz="1600" i="1" dirty="0">
              <a:solidFill>
                <a:schemeClr val="tx1"/>
              </a:solidFill>
            </a:endParaRPr>
          </a:p>
        </p:txBody>
      </p:sp>
      <p:sp>
        <p:nvSpPr>
          <p:cNvPr id="56" name="Arrow: Pentagon 55">
            <a:extLst>
              <a:ext uri="{FF2B5EF4-FFF2-40B4-BE49-F238E27FC236}">
                <a16:creationId xmlns:a16="http://schemas.microsoft.com/office/drawing/2014/main" id="{7F57F5D1-CCB3-4246-9C2B-DC05647A8137}"/>
              </a:ext>
            </a:extLst>
          </p:cNvPr>
          <p:cNvSpPr/>
          <p:nvPr/>
        </p:nvSpPr>
        <p:spPr>
          <a:xfrm>
            <a:off x="6730787" y="2139080"/>
            <a:ext cx="2160000" cy="540000"/>
          </a:xfrm>
          <a:prstGeom prst="homePlate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600" i="1" dirty="0">
                <a:solidFill>
                  <a:schemeClr val="tx1"/>
                </a:solidFill>
              </a:rPr>
              <a:t>Nutzung des </a:t>
            </a:r>
            <a:r>
              <a:rPr lang="de-DE" sz="1600" i="1" dirty="0" err="1">
                <a:solidFill>
                  <a:schemeClr val="tx1"/>
                </a:solidFill>
              </a:rPr>
              <a:t>Allocators</a:t>
            </a:r>
            <a:endParaRPr lang="de-DE" sz="1600" i="1" dirty="0">
              <a:solidFill>
                <a:schemeClr val="tx1"/>
              </a:solidFill>
            </a:endParaRPr>
          </a:p>
        </p:txBody>
      </p:sp>
      <p:sp>
        <p:nvSpPr>
          <p:cNvPr id="60" name="Arrow: Pentagon 59">
            <a:extLst>
              <a:ext uri="{FF2B5EF4-FFF2-40B4-BE49-F238E27FC236}">
                <a16:creationId xmlns:a16="http://schemas.microsoft.com/office/drawing/2014/main" id="{436F658B-4460-408B-91BD-D553659693A3}"/>
              </a:ext>
            </a:extLst>
          </p:cNvPr>
          <p:cNvSpPr/>
          <p:nvPr/>
        </p:nvSpPr>
        <p:spPr>
          <a:xfrm>
            <a:off x="3292284" y="4236237"/>
            <a:ext cx="2160000" cy="540000"/>
          </a:xfrm>
          <a:prstGeom prst="homePlate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600" i="1" dirty="0">
                <a:solidFill>
                  <a:schemeClr val="tx1"/>
                </a:solidFill>
              </a:rPr>
              <a:t>Anmeldung</a:t>
            </a:r>
          </a:p>
        </p:txBody>
      </p:sp>
      <p:sp>
        <p:nvSpPr>
          <p:cNvPr id="64" name="Arrow: Pentagon 63">
            <a:extLst>
              <a:ext uri="{FF2B5EF4-FFF2-40B4-BE49-F238E27FC236}">
                <a16:creationId xmlns:a16="http://schemas.microsoft.com/office/drawing/2014/main" id="{EB1A6C04-7310-43DD-9CDF-29AA5EBB2C9E}"/>
              </a:ext>
            </a:extLst>
          </p:cNvPr>
          <p:cNvSpPr/>
          <p:nvPr/>
        </p:nvSpPr>
        <p:spPr>
          <a:xfrm>
            <a:off x="6124619" y="4236237"/>
            <a:ext cx="2160000" cy="540000"/>
          </a:xfrm>
          <a:prstGeom prst="homePlate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600" i="1" dirty="0">
                <a:solidFill>
                  <a:schemeClr val="tx1"/>
                </a:solidFill>
              </a:rPr>
              <a:t>Nutzen der Bewerbungshilfe</a:t>
            </a:r>
          </a:p>
        </p:txBody>
      </p:sp>
      <p:sp>
        <p:nvSpPr>
          <p:cNvPr id="66" name="Arrow: Pentagon 65">
            <a:extLst>
              <a:ext uri="{FF2B5EF4-FFF2-40B4-BE49-F238E27FC236}">
                <a16:creationId xmlns:a16="http://schemas.microsoft.com/office/drawing/2014/main" id="{4DC4E791-D69B-4764-8156-AFE137088B37}"/>
              </a:ext>
            </a:extLst>
          </p:cNvPr>
          <p:cNvSpPr/>
          <p:nvPr/>
        </p:nvSpPr>
        <p:spPr>
          <a:xfrm>
            <a:off x="8350786" y="4236237"/>
            <a:ext cx="2160000" cy="540000"/>
          </a:xfrm>
          <a:prstGeom prst="homePlate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600" i="1" dirty="0">
                <a:solidFill>
                  <a:schemeClr val="tx1"/>
                </a:solidFill>
              </a:rPr>
              <a:t>Bewerbung erfolgreich versendet</a:t>
            </a:r>
          </a:p>
        </p:txBody>
      </p:sp>
      <p:sp>
        <p:nvSpPr>
          <p:cNvPr id="70" name="Arrow: Pentagon 69">
            <a:extLst>
              <a:ext uri="{FF2B5EF4-FFF2-40B4-BE49-F238E27FC236}">
                <a16:creationId xmlns:a16="http://schemas.microsoft.com/office/drawing/2014/main" id="{431A4FB0-15FE-4503-82CA-E82DCB0D27D1}"/>
              </a:ext>
            </a:extLst>
          </p:cNvPr>
          <p:cNvSpPr/>
          <p:nvPr/>
        </p:nvSpPr>
        <p:spPr>
          <a:xfrm>
            <a:off x="1066117" y="4236237"/>
            <a:ext cx="2160000" cy="540000"/>
          </a:xfrm>
          <a:prstGeom prst="homePlate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de-DE" sz="1600" i="1" dirty="0">
                <a:solidFill>
                  <a:schemeClr val="tx1"/>
                </a:solidFill>
              </a:rPr>
              <a:t>Auswählen des Partnerunternehmens</a:t>
            </a:r>
          </a:p>
        </p:txBody>
      </p:sp>
      <p:sp>
        <p:nvSpPr>
          <p:cNvPr id="72" name="Arrow: Pentagon 71">
            <a:extLst>
              <a:ext uri="{FF2B5EF4-FFF2-40B4-BE49-F238E27FC236}">
                <a16:creationId xmlns:a16="http://schemas.microsoft.com/office/drawing/2014/main" id="{454C5900-3F98-4A8F-9D46-C33553A02FDC}"/>
              </a:ext>
            </a:extLst>
          </p:cNvPr>
          <p:cNvSpPr/>
          <p:nvPr/>
        </p:nvSpPr>
        <p:spPr>
          <a:xfrm>
            <a:off x="8956952" y="2139080"/>
            <a:ext cx="2160000" cy="540000"/>
          </a:xfrm>
          <a:prstGeom prst="homePlate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de-DE" sz="1600" i="1" dirty="0">
                <a:solidFill>
                  <a:schemeClr val="tx1"/>
                </a:solidFill>
              </a:rPr>
              <a:t>Auswählen des Studiengangs</a:t>
            </a:r>
          </a:p>
        </p:txBody>
      </p:sp>
      <p:sp>
        <p:nvSpPr>
          <p:cNvPr id="73" name="Diamond 72">
            <a:extLst>
              <a:ext uri="{FF2B5EF4-FFF2-40B4-BE49-F238E27FC236}">
                <a16:creationId xmlns:a16="http://schemas.microsoft.com/office/drawing/2014/main" id="{7E0D4AC5-B361-49B3-A422-102F53124B7C}"/>
              </a:ext>
            </a:extLst>
          </p:cNvPr>
          <p:cNvSpPr/>
          <p:nvPr/>
        </p:nvSpPr>
        <p:spPr>
          <a:xfrm>
            <a:off x="5518451" y="4236237"/>
            <a:ext cx="540001" cy="540001"/>
          </a:xfrm>
          <a:prstGeom prst="diamond">
            <a:avLst/>
          </a:prstGeom>
          <a:solidFill>
            <a:schemeClr val="accent2">
              <a:lumMod val="40000"/>
              <a:lumOff val="6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/>
          </a:p>
        </p:txBody>
      </p:sp>
      <p:sp>
        <p:nvSpPr>
          <p:cNvPr id="74" name="Diamond 73">
            <a:extLst>
              <a:ext uri="{FF2B5EF4-FFF2-40B4-BE49-F238E27FC236}">
                <a16:creationId xmlns:a16="http://schemas.microsoft.com/office/drawing/2014/main" id="{CC2F37E4-7C48-4E72-A23A-5BC494CB133D}"/>
              </a:ext>
            </a:extLst>
          </p:cNvPr>
          <p:cNvSpPr/>
          <p:nvPr/>
        </p:nvSpPr>
        <p:spPr>
          <a:xfrm>
            <a:off x="1066117" y="2139080"/>
            <a:ext cx="540001" cy="540001"/>
          </a:xfrm>
          <a:prstGeom prst="diamond">
            <a:avLst/>
          </a:prstGeom>
          <a:solidFill>
            <a:schemeClr val="accent2">
              <a:lumMod val="40000"/>
              <a:lumOff val="6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75" name="Diamond 74">
            <a:extLst>
              <a:ext uri="{FF2B5EF4-FFF2-40B4-BE49-F238E27FC236}">
                <a16:creationId xmlns:a16="http://schemas.microsoft.com/office/drawing/2014/main" id="{DE67D8C0-3718-4024-A2EC-72CB3AB30C22}"/>
              </a:ext>
            </a:extLst>
          </p:cNvPr>
          <p:cNvSpPr/>
          <p:nvPr/>
        </p:nvSpPr>
        <p:spPr>
          <a:xfrm>
            <a:off x="3898450" y="2160669"/>
            <a:ext cx="540001" cy="540001"/>
          </a:xfrm>
          <a:prstGeom prst="diamond">
            <a:avLst/>
          </a:prstGeom>
          <a:solidFill>
            <a:schemeClr val="accent2">
              <a:lumMod val="40000"/>
              <a:lumOff val="6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/>
          </a:p>
        </p:txBody>
      </p:sp>
      <p:sp>
        <p:nvSpPr>
          <p:cNvPr id="76" name="Diamond 75">
            <a:extLst>
              <a:ext uri="{FF2B5EF4-FFF2-40B4-BE49-F238E27FC236}">
                <a16:creationId xmlns:a16="http://schemas.microsoft.com/office/drawing/2014/main" id="{2CF034EF-8929-4ED4-9152-13AA9A9F483A}"/>
              </a:ext>
            </a:extLst>
          </p:cNvPr>
          <p:cNvSpPr/>
          <p:nvPr/>
        </p:nvSpPr>
        <p:spPr>
          <a:xfrm>
            <a:off x="10576951" y="4236237"/>
            <a:ext cx="540001" cy="540001"/>
          </a:xfrm>
          <a:prstGeom prst="diamond">
            <a:avLst/>
          </a:prstGeom>
          <a:solidFill>
            <a:schemeClr val="accent2">
              <a:lumMod val="40000"/>
              <a:lumOff val="6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/>
          </a:p>
        </p:txBody>
      </p:sp>
      <p:sp>
        <p:nvSpPr>
          <p:cNvPr id="77" name="TextBox 76">
            <a:extLst>
              <a:ext uri="{FF2B5EF4-FFF2-40B4-BE49-F238E27FC236}">
                <a16:creationId xmlns:a16="http://schemas.microsoft.com/office/drawing/2014/main" id="{736BAFA4-E9DE-477A-923A-CF6D809F48EE}"/>
              </a:ext>
            </a:extLst>
          </p:cNvPr>
          <p:cNvSpPr txBox="1"/>
          <p:nvPr/>
        </p:nvSpPr>
        <p:spPr>
          <a:xfrm>
            <a:off x="148391" y="2722260"/>
            <a:ext cx="237545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400" dirty="0"/>
              <a:t>Aufmerksam geworden auf dual </a:t>
            </a:r>
            <a:r>
              <a:rPr lang="de-DE" sz="1400" dirty="0" err="1"/>
              <a:t>study</a:t>
            </a:r>
            <a:r>
              <a:rPr lang="de-DE" sz="1400" dirty="0"/>
              <a:t> fit</a:t>
            </a:r>
          </a:p>
        </p:txBody>
      </p:sp>
      <p:sp>
        <p:nvSpPr>
          <p:cNvPr id="78" name="TextBox 77">
            <a:extLst>
              <a:ext uri="{FF2B5EF4-FFF2-40B4-BE49-F238E27FC236}">
                <a16:creationId xmlns:a16="http://schemas.microsoft.com/office/drawing/2014/main" id="{667D0CEC-D827-4AA0-9744-32209FFB67C6}"/>
              </a:ext>
            </a:extLst>
          </p:cNvPr>
          <p:cNvSpPr txBox="1"/>
          <p:nvPr/>
        </p:nvSpPr>
        <p:spPr>
          <a:xfrm>
            <a:off x="2980726" y="2722260"/>
            <a:ext cx="237545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400" dirty="0"/>
              <a:t>Aufmerksam geworden auf </a:t>
            </a:r>
            <a:r>
              <a:rPr lang="de-DE" sz="1400" dirty="0" err="1"/>
              <a:t>Allocator</a:t>
            </a:r>
            <a:endParaRPr lang="de-DE" sz="1400" dirty="0"/>
          </a:p>
        </p:txBody>
      </p:sp>
      <p:sp>
        <p:nvSpPr>
          <p:cNvPr id="79" name="TextBox 78">
            <a:extLst>
              <a:ext uri="{FF2B5EF4-FFF2-40B4-BE49-F238E27FC236}">
                <a16:creationId xmlns:a16="http://schemas.microsoft.com/office/drawing/2014/main" id="{33A3F970-D46D-442D-811D-142D24491656}"/>
              </a:ext>
            </a:extLst>
          </p:cNvPr>
          <p:cNvSpPr txBox="1"/>
          <p:nvPr/>
        </p:nvSpPr>
        <p:spPr>
          <a:xfrm>
            <a:off x="4600725" y="4834764"/>
            <a:ext cx="237545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400" dirty="0"/>
              <a:t>Nutzer im System</a:t>
            </a:r>
          </a:p>
        </p:txBody>
      </p:sp>
      <p:sp>
        <p:nvSpPr>
          <p:cNvPr id="80" name="TextBox 79">
            <a:extLst>
              <a:ext uri="{FF2B5EF4-FFF2-40B4-BE49-F238E27FC236}">
                <a16:creationId xmlns:a16="http://schemas.microsoft.com/office/drawing/2014/main" id="{F001EE73-FDAD-4542-AEAE-1EF5964FC958}"/>
              </a:ext>
            </a:extLst>
          </p:cNvPr>
          <p:cNvSpPr txBox="1"/>
          <p:nvPr/>
        </p:nvSpPr>
        <p:spPr>
          <a:xfrm>
            <a:off x="9578050" y="4834764"/>
            <a:ext cx="2537802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400" dirty="0"/>
              <a:t>Bewerbung bei Partnerunternehmen angekommen</a:t>
            </a:r>
          </a:p>
        </p:txBody>
      </p:sp>
      <p:sp>
        <p:nvSpPr>
          <p:cNvPr id="98" name="Arrow: Chevron 97">
            <a:extLst>
              <a:ext uri="{FF2B5EF4-FFF2-40B4-BE49-F238E27FC236}">
                <a16:creationId xmlns:a16="http://schemas.microsoft.com/office/drawing/2014/main" id="{66B090E2-22B5-4A18-99A7-DEC649156FA7}"/>
              </a:ext>
            </a:extLst>
          </p:cNvPr>
          <p:cNvSpPr/>
          <p:nvPr/>
        </p:nvSpPr>
        <p:spPr>
          <a:xfrm>
            <a:off x="10965530" y="4236238"/>
            <a:ext cx="526773" cy="540000"/>
          </a:xfrm>
          <a:prstGeom prst="chevron">
            <a:avLst/>
          </a:prstGeom>
          <a:solidFill>
            <a:schemeClr val="accent2">
              <a:lumMod val="40000"/>
              <a:lumOff val="6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/>
          </a:p>
        </p:txBody>
      </p:sp>
      <p:cxnSp>
        <p:nvCxnSpPr>
          <p:cNvPr id="110" name="Connector: Curved 109">
            <a:extLst>
              <a:ext uri="{FF2B5EF4-FFF2-40B4-BE49-F238E27FC236}">
                <a16:creationId xmlns:a16="http://schemas.microsoft.com/office/drawing/2014/main" id="{60ED1E02-0B29-44A2-8B88-E7EB8CA87662}"/>
              </a:ext>
            </a:extLst>
          </p:cNvPr>
          <p:cNvCxnSpPr>
            <a:cxnSpLocks/>
            <a:stCxn id="72" idx="3"/>
            <a:endCxn id="70" idx="1"/>
          </p:cNvCxnSpPr>
          <p:nvPr/>
        </p:nvCxnSpPr>
        <p:spPr>
          <a:xfrm flipH="1">
            <a:off x="1066117" y="2409080"/>
            <a:ext cx="10050835" cy="2097157"/>
          </a:xfrm>
          <a:prstGeom prst="curvedConnector5">
            <a:avLst>
              <a:gd name="adj1" fmla="val -6444"/>
              <a:gd name="adj2" fmla="val 50000"/>
              <a:gd name="adj3" fmla="val 103538"/>
            </a:avLst>
          </a:prstGeom>
          <a:ln w="19050">
            <a:solidFill>
              <a:schemeClr val="accent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4583857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40A10D55-92B5-469B-B0AA-75EA91D9A2B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928150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02"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40A10D55-92B5-469B-B0AA-75EA91D9A2B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93544CB-F0B9-4434-B5CC-12F00291035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5384" y="301752"/>
            <a:ext cx="8980372" cy="660774"/>
          </a:xfrm>
        </p:spPr>
        <p:txBody>
          <a:bodyPr/>
          <a:lstStyle/>
          <a:p>
            <a:r>
              <a:rPr lang="de-DE"/>
              <a:t>agenda</a:t>
            </a:r>
            <a:endParaRPr lang="de-DE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8509EEA2-55D0-426F-B0FC-F77471B0BBD9}"/>
              </a:ext>
            </a:extLst>
          </p:cNvPr>
          <p:cNvSpPr txBox="1">
            <a:spLocks/>
          </p:cNvSpPr>
          <p:nvPr/>
        </p:nvSpPr>
        <p:spPr>
          <a:xfrm>
            <a:off x="368300" y="1285785"/>
            <a:ext cx="11351296" cy="4286430"/>
          </a:xfrm>
          <a:prstGeom prst="rect">
            <a:avLst/>
          </a:prstGeom>
        </p:spPr>
        <p:txBody>
          <a:bodyPr anchor="ctr"/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6858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9144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1430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312863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484313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65735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882775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463645" lvl="5" indent="-285750">
              <a:spcAft>
                <a:spcPts val="1800"/>
              </a:spcAft>
              <a:buFont typeface="Arial" panose="020B0604020202020204" pitchFamily="34" charset="0"/>
              <a:buChar char="█"/>
            </a:pPr>
            <a:r>
              <a:rPr lang="de-DE" dirty="0" err="1">
                <a:latin typeface="Arial" panose="020B0604020202020204" pitchFamily="34" charset="0"/>
                <a:cs typeface="Arial" panose="020B0604020202020204" pitchFamily="34" charset="0"/>
              </a:rPr>
              <a:t>Recap</a:t>
            </a: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463645" lvl="5" indent="-285750">
              <a:spcAft>
                <a:spcPts val="1800"/>
              </a:spcAft>
              <a:buFont typeface="Arial" panose="020B0604020202020204" pitchFamily="34" charset="0"/>
              <a:buChar char="█"/>
            </a:pPr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Achievements</a:t>
            </a:r>
          </a:p>
          <a:p>
            <a:pPr marL="1463645" lvl="5" indent="-285750">
              <a:spcAft>
                <a:spcPts val="1800"/>
              </a:spcAft>
              <a:buFont typeface="Arial" panose="020B0604020202020204" pitchFamily="34" charset="0"/>
              <a:buChar char="█"/>
            </a:pPr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Abweichungen von Ausgangskonzeption</a:t>
            </a:r>
          </a:p>
          <a:p>
            <a:pPr marL="1463645" lvl="5" indent="-285750">
              <a:spcAft>
                <a:spcPts val="1800"/>
              </a:spcAft>
              <a:buFont typeface="Arial" panose="020B0604020202020204" pitchFamily="34" charset="0"/>
              <a:buChar char="█"/>
            </a:pPr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Live Präsentation</a:t>
            </a:r>
          </a:p>
          <a:p>
            <a:pPr marL="1463645" lvl="5" indent="-285750">
              <a:spcAft>
                <a:spcPts val="1800"/>
              </a:spcAft>
              <a:buFont typeface="Arial" panose="020B0604020202020204" pitchFamily="34" charset="0"/>
              <a:buChar char="█"/>
            </a:pPr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Ausblick</a:t>
            </a:r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784CCE96-990E-40E5-9925-F6252FC604A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75384" y="6556247"/>
            <a:ext cx="6862233" cy="229563"/>
          </a:xfrm>
          <a:prstGeom prst="rect">
            <a:avLst/>
          </a:prstGeom>
        </p:spPr>
        <p:txBody>
          <a:bodyPr/>
          <a:lstStyle/>
          <a:p>
            <a:r>
              <a:rPr lang="en-US" sz="900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pyright © 2019 dual study fit. All rights reserved. </a:t>
            </a:r>
            <a:endParaRPr lang="de-DE" sz="900" dirty="0">
              <a:solidFill>
                <a:schemeClr val="bg1">
                  <a:lumMod val="6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5459581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40A10D55-92B5-469B-B0AA-75EA91D9A2B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65"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40A10D55-92B5-469B-B0AA-75EA91D9A2B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93544CB-F0B9-4434-B5CC-12F00291035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5384" y="301752"/>
            <a:ext cx="8980372" cy="660774"/>
          </a:xfrm>
        </p:spPr>
        <p:txBody>
          <a:bodyPr/>
          <a:lstStyle/>
          <a:p>
            <a:r>
              <a:rPr lang="de-DE"/>
              <a:t>agenda</a:t>
            </a:r>
            <a:endParaRPr lang="de-DE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8509EEA2-55D0-426F-B0FC-F77471B0BBD9}"/>
              </a:ext>
            </a:extLst>
          </p:cNvPr>
          <p:cNvSpPr txBox="1">
            <a:spLocks/>
          </p:cNvSpPr>
          <p:nvPr/>
        </p:nvSpPr>
        <p:spPr>
          <a:xfrm>
            <a:off x="368300" y="1285785"/>
            <a:ext cx="11351296" cy="4286430"/>
          </a:xfrm>
          <a:prstGeom prst="rect">
            <a:avLst/>
          </a:prstGeom>
        </p:spPr>
        <p:txBody>
          <a:bodyPr anchor="ctr"/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6858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9144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1430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312863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484313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65735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882775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463645" lvl="5" indent="-285750">
              <a:spcAft>
                <a:spcPts val="1800"/>
              </a:spcAft>
              <a:buFont typeface="Arial" panose="020B0604020202020204" pitchFamily="34" charset="0"/>
              <a:buChar char="█"/>
            </a:pPr>
            <a:r>
              <a:rPr lang="de-DE" b="1" dirty="0" err="1">
                <a:latin typeface="Arial" panose="020B0604020202020204" pitchFamily="34" charset="0"/>
                <a:cs typeface="Arial" panose="020B0604020202020204" pitchFamily="34" charset="0"/>
              </a:rPr>
              <a:t>Recap</a:t>
            </a:r>
            <a:endParaRPr lang="de-DE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463645" lvl="5" indent="-285750">
              <a:spcAft>
                <a:spcPts val="1800"/>
              </a:spcAft>
              <a:buFont typeface="Arial" panose="020B0604020202020204" pitchFamily="34" charset="0"/>
              <a:buChar char="█"/>
            </a:pPr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Achievements</a:t>
            </a:r>
          </a:p>
          <a:p>
            <a:pPr marL="1463645" lvl="5" indent="-285750">
              <a:spcAft>
                <a:spcPts val="1800"/>
              </a:spcAft>
              <a:buFont typeface="Arial" panose="020B0604020202020204" pitchFamily="34" charset="0"/>
              <a:buChar char="█"/>
            </a:pPr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Abweichungen von Ausgangskonzeption</a:t>
            </a:r>
          </a:p>
          <a:p>
            <a:pPr marL="1463645" lvl="5" indent="-285750">
              <a:spcAft>
                <a:spcPts val="1800"/>
              </a:spcAft>
              <a:buFont typeface="Arial" panose="020B0604020202020204" pitchFamily="34" charset="0"/>
              <a:buChar char="█"/>
            </a:pPr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Live Präsentation</a:t>
            </a:r>
          </a:p>
          <a:p>
            <a:pPr marL="1463645" lvl="5" indent="-285750">
              <a:spcAft>
                <a:spcPts val="1800"/>
              </a:spcAft>
              <a:buFont typeface="Arial" panose="020B0604020202020204" pitchFamily="34" charset="0"/>
              <a:buChar char="█"/>
            </a:pPr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Ausblick</a:t>
            </a:r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784CCE96-990E-40E5-9925-F6252FC604A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75384" y="6556247"/>
            <a:ext cx="6862233" cy="229563"/>
          </a:xfrm>
          <a:prstGeom prst="rect">
            <a:avLst/>
          </a:prstGeom>
        </p:spPr>
        <p:txBody>
          <a:bodyPr/>
          <a:lstStyle/>
          <a:p>
            <a:r>
              <a:rPr lang="en-US" sz="900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pyright © 2019 dual study fit. All rights reserved. </a:t>
            </a:r>
            <a:endParaRPr lang="de-DE" sz="900" dirty="0">
              <a:solidFill>
                <a:schemeClr val="bg1">
                  <a:lumMod val="6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2BF1A655-3D4E-43D7-A112-7B5531E5FED7}"/>
              </a:ext>
            </a:extLst>
          </p:cNvPr>
          <p:cNvSpPr/>
          <p:nvPr/>
        </p:nvSpPr>
        <p:spPr bwMode="auto">
          <a:xfrm>
            <a:off x="1559496" y="1979216"/>
            <a:ext cx="6031497" cy="504056"/>
          </a:xfrm>
          <a:prstGeom prst="rect">
            <a:avLst/>
          </a:prstGeom>
          <a:noFill/>
          <a:ln w="28575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1042988" rtl="0" eaLnBrk="1" fontAlgn="base" latinLnBrk="0" hangingPunct="1">
              <a:lnSpc>
                <a:spcPct val="11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5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5778164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077EC36F-83F3-437B-BEC8-202112F6B8F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353958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27"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077EC36F-83F3-437B-BEC8-202112F6B8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6840444D-099E-4609-989C-6059DDB630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86515" y="301752"/>
            <a:ext cx="4128717" cy="660774"/>
          </a:xfrm>
        </p:spPr>
        <p:txBody>
          <a:bodyPr/>
          <a:lstStyle/>
          <a:p>
            <a:pPr algn="r"/>
            <a:r>
              <a:rPr lang="de-DE" dirty="0"/>
              <a:t>Geschäftsidee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A9BDA7E0-582D-4F57-9ED3-08EF71B38B61}"/>
              </a:ext>
            </a:extLst>
          </p:cNvPr>
          <p:cNvSpPr txBox="1">
            <a:spLocks/>
          </p:cNvSpPr>
          <p:nvPr/>
        </p:nvSpPr>
        <p:spPr>
          <a:xfrm>
            <a:off x="375383" y="969028"/>
            <a:ext cx="11439850" cy="660774"/>
          </a:xfrm>
          <a:prstGeom prst="rect">
            <a:avLst/>
          </a:prstGeom>
          <a:noFill/>
          <a:ln>
            <a:noFill/>
          </a:ln>
        </p:spPr>
        <p:txBody>
          <a:bodyPr anchor="ctr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 cap="all" spc="200" baseline="0">
                <a:solidFill>
                  <a:srgbClr val="262626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sz="2000" b="0" i="1" cap="none" dirty="0"/>
              <a:t>Dual </a:t>
            </a:r>
            <a:r>
              <a:rPr lang="en-US" sz="2000" b="0" i="1" cap="none" dirty="0"/>
              <a:t>study</a:t>
            </a:r>
            <a:r>
              <a:rPr lang="de-DE" sz="2000" b="0" i="1" cap="none" dirty="0"/>
              <a:t> fit unterstützt Studenten an verschiedenen Punkten auf dem Weg zum dualen Studium.</a:t>
            </a:r>
          </a:p>
        </p:txBody>
      </p:sp>
      <p:sp>
        <p:nvSpPr>
          <p:cNvPr id="7" name="Footer Placeholder 11">
            <a:extLst>
              <a:ext uri="{FF2B5EF4-FFF2-40B4-BE49-F238E27FC236}">
                <a16:creationId xmlns:a16="http://schemas.microsoft.com/office/drawing/2014/main" id="{416FA511-A7B1-45AB-8073-00E9B7B09EB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75384" y="6556247"/>
            <a:ext cx="6862233" cy="229563"/>
          </a:xfrm>
          <a:prstGeom prst="rect">
            <a:avLst/>
          </a:prstGeom>
        </p:spPr>
        <p:txBody>
          <a:bodyPr/>
          <a:lstStyle/>
          <a:p>
            <a:r>
              <a:rPr lang="en-US" sz="900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pyright © 2019 dual study fit. All rights reserved. </a:t>
            </a:r>
            <a:endParaRPr lang="de-DE" sz="900" dirty="0">
              <a:solidFill>
                <a:schemeClr val="bg1">
                  <a:lumMod val="6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9" name="Picture 8" descr="A close up of a logo&#10;&#10;Description automatically generated">
            <a:extLst>
              <a:ext uri="{FF2B5EF4-FFF2-40B4-BE49-F238E27FC236}">
                <a16:creationId xmlns:a16="http://schemas.microsoft.com/office/drawing/2014/main" id="{4D0B27D6-0E3F-4F1E-850D-BF9B0DAB1266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946982" y="3587916"/>
            <a:ext cx="2298036" cy="736264"/>
          </a:xfrm>
          <a:prstGeom prst="rect">
            <a:avLst/>
          </a:prstGeom>
        </p:spPr>
      </p:pic>
      <p:grpSp>
        <p:nvGrpSpPr>
          <p:cNvPr id="30" name="Group 29">
            <a:extLst>
              <a:ext uri="{FF2B5EF4-FFF2-40B4-BE49-F238E27FC236}">
                <a16:creationId xmlns:a16="http://schemas.microsoft.com/office/drawing/2014/main" id="{442B314C-9374-457B-986F-B86A0AC0A61C}"/>
              </a:ext>
            </a:extLst>
          </p:cNvPr>
          <p:cNvGrpSpPr/>
          <p:nvPr/>
        </p:nvGrpSpPr>
        <p:grpSpPr>
          <a:xfrm>
            <a:off x="1554480" y="3210494"/>
            <a:ext cx="3420799" cy="1491109"/>
            <a:chOff x="1554480" y="3149724"/>
            <a:chExt cx="3420799" cy="1491109"/>
          </a:xfrm>
        </p:grpSpPr>
        <p:sp>
          <p:nvSpPr>
            <p:cNvPr id="23" name="AutoShape 7">
              <a:extLst>
                <a:ext uri="{FF2B5EF4-FFF2-40B4-BE49-F238E27FC236}">
                  <a16:creationId xmlns:a16="http://schemas.microsoft.com/office/drawing/2014/main" id="{09C4708E-E894-40ED-BD9F-E74D6F54FF5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625485" y="3251200"/>
              <a:ext cx="2880000" cy="1389633"/>
            </a:xfrm>
            <a:prstGeom prst="homePlate">
              <a:avLst>
                <a:gd name="adj" fmla="val 12663"/>
              </a:avLst>
            </a:prstGeom>
            <a:solidFill>
              <a:schemeClr val="bg1">
                <a:lumMod val="85000"/>
              </a:schemeClr>
            </a:solidFill>
            <a:ln w="6350">
              <a:noFill/>
              <a:miter lim="800000"/>
              <a:headEnd/>
              <a:tailEnd/>
            </a:ln>
            <a:effectLst/>
          </p:spPr>
          <p:txBody>
            <a:bodyPr lIns="72000" tIns="72000" rIns="72000" bIns="72000" anchor="ctr"/>
            <a:lstStyle/>
            <a:p>
              <a:pPr marL="285750" indent="-285750">
                <a:buFont typeface="Wingdings" panose="05000000000000000000" pitchFamily="2" charset="2"/>
                <a:buChar char="§"/>
              </a:pPr>
              <a:endParaRPr lang="en-US" sz="1400"/>
            </a:p>
            <a:p>
              <a:pPr marL="285750" indent="-285750">
                <a:buFont typeface="Wingdings" panose="05000000000000000000" pitchFamily="2" charset="2"/>
                <a:buChar char="§"/>
              </a:pPr>
              <a:endParaRPr lang="en-US" sz="1400"/>
            </a:p>
            <a:p>
              <a:pPr marL="285750" indent="-285750">
                <a:buFont typeface="Wingdings" panose="05000000000000000000" pitchFamily="2" charset="2"/>
                <a:buChar char="§"/>
              </a:pPr>
              <a:r>
                <a:rPr lang="en-US" sz="1400"/>
                <a:t>Hilfe bei Auswahl des Studiengangs</a:t>
              </a:r>
            </a:p>
            <a:p>
              <a:pPr marL="285750" indent="-285750">
                <a:buFont typeface="Wingdings" panose="05000000000000000000" pitchFamily="2" charset="2"/>
                <a:buChar char="§"/>
              </a:pPr>
              <a:r>
                <a:rPr lang="en-US" sz="1400"/>
                <a:t>Fragebogen zur Entscheidungsfindung</a:t>
              </a:r>
              <a:endParaRPr lang="en-US" sz="1400" dirty="0"/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ABA88460-4056-4A96-BD15-1C0EFD14A3F0}"/>
                </a:ext>
              </a:extLst>
            </p:cNvPr>
            <p:cNvSpPr/>
            <p:nvPr/>
          </p:nvSpPr>
          <p:spPr>
            <a:xfrm>
              <a:off x="1625485" y="3251200"/>
              <a:ext cx="2880000" cy="32385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1400" b="1" dirty="0"/>
                <a:t>Dual Study Allocator</a:t>
              </a:r>
            </a:p>
          </p:txBody>
        </p:sp>
        <p:sp>
          <p:nvSpPr>
            <p:cNvPr id="10" name="Isosceles Triangle 9">
              <a:extLst>
                <a:ext uri="{FF2B5EF4-FFF2-40B4-BE49-F238E27FC236}">
                  <a16:creationId xmlns:a16="http://schemas.microsoft.com/office/drawing/2014/main" id="{6FB40F5A-C935-487F-A3D5-90A700F5A963}"/>
                </a:ext>
              </a:extLst>
            </p:cNvPr>
            <p:cNvSpPr/>
            <p:nvPr/>
          </p:nvSpPr>
          <p:spPr>
            <a:xfrm rot="10800000">
              <a:off x="4204223" y="3149724"/>
              <a:ext cx="771056" cy="1026708"/>
            </a:xfrm>
            <a:prstGeom prst="triangl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12221AEA-778D-4639-B33F-78F172583CC7}"/>
                </a:ext>
              </a:extLst>
            </p:cNvPr>
            <p:cNvCxnSpPr>
              <a:cxnSpLocks/>
            </p:cNvCxnSpPr>
            <p:nvPr/>
          </p:nvCxnSpPr>
          <p:spPr>
            <a:xfrm>
              <a:off x="1554480" y="3587916"/>
              <a:ext cx="2841837" cy="0"/>
            </a:xfrm>
            <a:prstGeom prst="line">
              <a:avLst/>
            </a:prstGeom>
            <a:ln w="38100"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9" name="Group 18">
            <a:extLst>
              <a:ext uri="{FF2B5EF4-FFF2-40B4-BE49-F238E27FC236}">
                <a16:creationId xmlns:a16="http://schemas.microsoft.com/office/drawing/2014/main" id="{99C4C9E5-4C5C-4D08-A83D-D6820D423149}"/>
              </a:ext>
            </a:extLst>
          </p:cNvPr>
          <p:cNvGrpSpPr/>
          <p:nvPr/>
        </p:nvGrpSpPr>
        <p:grpSpPr>
          <a:xfrm>
            <a:off x="7203600" y="3180189"/>
            <a:ext cx="3362915" cy="1551719"/>
            <a:chOff x="7203600" y="3089115"/>
            <a:chExt cx="3362915" cy="1551719"/>
          </a:xfrm>
        </p:grpSpPr>
        <p:sp>
          <p:nvSpPr>
            <p:cNvPr id="24" name="AutoShape 8">
              <a:extLst>
                <a:ext uri="{FF2B5EF4-FFF2-40B4-BE49-F238E27FC236}">
                  <a16:creationId xmlns:a16="http://schemas.microsoft.com/office/drawing/2014/main" id="{AD3F6A9C-55D1-4FE1-B252-815C93EB4CF8}"/>
                </a:ext>
              </a:extLst>
            </p:cNvPr>
            <p:cNvSpPr>
              <a:spLocks noChangeArrowheads="1"/>
            </p:cNvSpPr>
            <p:nvPr/>
          </p:nvSpPr>
          <p:spPr bwMode="auto">
            <a:xfrm flipH="1">
              <a:off x="7686515" y="3251200"/>
              <a:ext cx="2880000" cy="1389634"/>
            </a:xfrm>
            <a:prstGeom prst="homePlate">
              <a:avLst>
                <a:gd name="adj" fmla="val 12663"/>
              </a:avLst>
            </a:prstGeom>
            <a:solidFill>
              <a:schemeClr val="bg1">
                <a:lumMod val="85000"/>
              </a:schemeClr>
            </a:solidFill>
            <a:ln w="6350">
              <a:noFill/>
              <a:miter lim="800000"/>
              <a:headEnd/>
              <a:tailEnd/>
            </a:ln>
            <a:effectLst/>
          </p:spPr>
          <p:txBody>
            <a:bodyPr lIns="72000" tIns="72000" rIns="72000" bIns="72000" anchor="t"/>
            <a:lstStyle/>
            <a:p>
              <a:pPr marL="228600" indent="-114300" algn="l" eaLnBrk="0" hangingPunct="0">
                <a:buClr>
                  <a:schemeClr val="folHlink"/>
                </a:buClr>
              </a:pPr>
              <a:endParaRPr lang="de-DE" sz="1400" b="1" dirty="0"/>
            </a:p>
            <a:p>
              <a:pPr marL="228600" indent="-114300" algn="l" eaLnBrk="0" hangingPunct="0">
                <a:buClr>
                  <a:schemeClr val="folHlink"/>
                </a:buClr>
              </a:pPr>
              <a:endParaRPr lang="de-DE" sz="1400" b="1" dirty="0"/>
            </a:p>
            <a:p>
              <a:pPr marL="285750" indent="-285750">
                <a:buFont typeface="Wingdings" panose="05000000000000000000" pitchFamily="2" charset="2"/>
                <a:buChar char="§"/>
              </a:pPr>
              <a:r>
                <a:rPr lang="de-DE" sz="1400" dirty="0"/>
                <a:t>Vergleich der Studienschwerpunkte</a:t>
              </a:r>
            </a:p>
            <a:p>
              <a:pPr marL="285750" indent="-285750">
                <a:buFont typeface="Wingdings" panose="05000000000000000000" pitchFamily="2" charset="2"/>
                <a:buChar char="§"/>
              </a:pPr>
              <a:r>
                <a:rPr lang="de-DE" sz="1400" dirty="0"/>
                <a:t>Hochschulübersicht</a:t>
              </a:r>
            </a:p>
          </p:txBody>
        </p:sp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DEBD8C06-1041-461A-A3CC-16E59B55A8A8}"/>
                </a:ext>
              </a:extLst>
            </p:cNvPr>
            <p:cNvSpPr/>
            <p:nvPr/>
          </p:nvSpPr>
          <p:spPr>
            <a:xfrm>
              <a:off x="7686515" y="3251200"/>
              <a:ext cx="2880000" cy="32385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16000" rtlCol="0" anchor="ctr"/>
            <a:lstStyle/>
            <a:p>
              <a:r>
                <a:rPr lang="de-DE" sz="1400" b="1" dirty="0"/>
                <a:t>Studiengangsübersicht</a:t>
              </a:r>
            </a:p>
          </p:txBody>
        </p:sp>
        <p:sp>
          <p:nvSpPr>
            <p:cNvPr id="25" name="Isosceles Triangle 24">
              <a:extLst>
                <a:ext uri="{FF2B5EF4-FFF2-40B4-BE49-F238E27FC236}">
                  <a16:creationId xmlns:a16="http://schemas.microsoft.com/office/drawing/2014/main" id="{7FADED58-A270-4F19-996E-CE915C6DAA49}"/>
                </a:ext>
              </a:extLst>
            </p:cNvPr>
            <p:cNvSpPr/>
            <p:nvPr/>
          </p:nvSpPr>
          <p:spPr>
            <a:xfrm rot="10440000">
              <a:off x="7203600" y="3089115"/>
              <a:ext cx="771056" cy="1026708"/>
            </a:xfrm>
            <a:prstGeom prst="triangl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AD946EB9-AC5C-443A-9780-C2A39B1D1560}"/>
                </a:ext>
              </a:extLst>
            </p:cNvPr>
            <p:cNvCxnSpPr>
              <a:cxnSpLocks/>
            </p:cNvCxnSpPr>
            <p:nvPr/>
          </p:nvCxnSpPr>
          <p:spPr>
            <a:xfrm>
              <a:off x="7724678" y="3587916"/>
              <a:ext cx="2841837" cy="0"/>
            </a:xfrm>
            <a:prstGeom prst="line">
              <a:avLst/>
            </a:prstGeom>
            <a:ln w="38100"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7" name="Group 36">
            <a:extLst>
              <a:ext uri="{FF2B5EF4-FFF2-40B4-BE49-F238E27FC236}">
                <a16:creationId xmlns:a16="http://schemas.microsoft.com/office/drawing/2014/main" id="{C51727C7-40BA-4256-8953-51FFCED8A1EC}"/>
              </a:ext>
            </a:extLst>
          </p:cNvPr>
          <p:cNvGrpSpPr/>
          <p:nvPr/>
        </p:nvGrpSpPr>
        <p:grpSpPr>
          <a:xfrm>
            <a:off x="4617413" y="1773870"/>
            <a:ext cx="2957175" cy="1440001"/>
            <a:chOff x="4631953" y="1682796"/>
            <a:chExt cx="2957175" cy="1440001"/>
          </a:xfrm>
        </p:grpSpPr>
        <p:sp>
          <p:nvSpPr>
            <p:cNvPr id="21" name="AutoShape 5">
              <a:extLst>
                <a:ext uri="{FF2B5EF4-FFF2-40B4-BE49-F238E27FC236}">
                  <a16:creationId xmlns:a16="http://schemas.microsoft.com/office/drawing/2014/main" id="{C28BE157-6D0E-4427-BA2A-62152B6A6560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16200000" flipH="1" flipV="1">
              <a:off x="5376000" y="962797"/>
              <a:ext cx="1440000" cy="2880000"/>
            </a:xfrm>
            <a:prstGeom prst="homePlate">
              <a:avLst>
                <a:gd name="adj" fmla="val 25000"/>
              </a:avLst>
            </a:prstGeom>
            <a:solidFill>
              <a:schemeClr val="bg1">
                <a:lumMod val="85000"/>
              </a:schemeClr>
            </a:solidFill>
            <a:ln w="6350">
              <a:noFill/>
              <a:miter lim="800000"/>
              <a:headEnd/>
              <a:tailEnd/>
            </a:ln>
            <a:effectLst/>
          </p:spPr>
          <p:txBody>
            <a:bodyPr rot="10800000" vert="eaVert" lIns="72000" tIns="72000" rIns="72000" bIns="72000" anchor="ctr"/>
            <a:lstStyle/>
            <a:p>
              <a:pPr marL="114300" indent="-114300" eaLnBrk="0" hangingPunct="0">
                <a:buClr>
                  <a:schemeClr val="folHlink"/>
                </a:buClr>
              </a:pPr>
              <a:endParaRPr lang="de-DE" sz="1400" b="1" dirty="0"/>
            </a:p>
            <a:p>
              <a:pPr marL="114300" indent="-114300" eaLnBrk="0" hangingPunct="0">
                <a:buClr>
                  <a:schemeClr val="folHlink"/>
                </a:buClr>
              </a:pPr>
              <a:r>
                <a:rPr lang="de-DE" sz="1400" b="1" dirty="0"/>
                <a:t> </a:t>
              </a:r>
            </a:p>
            <a:p>
              <a:pPr marL="285750" indent="-285750">
                <a:buFont typeface="Wingdings" panose="05000000000000000000" pitchFamily="2" charset="2"/>
                <a:buChar char="§"/>
              </a:pPr>
              <a:r>
                <a:rPr lang="de-DE" sz="1400" dirty="0"/>
                <a:t>Übersicht der möglichen Studiengänge</a:t>
              </a:r>
            </a:p>
            <a:p>
              <a:pPr marL="285750" indent="-285750">
                <a:buFont typeface="Wingdings" panose="05000000000000000000" pitchFamily="2" charset="2"/>
                <a:buChar char="§"/>
              </a:pPr>
              <a:r>
                <a:rPr lang="de-DE" sz="1400" dirty="0"/>
                <a:t>Vergleich der Vertragskonditionen</a:t>
              </a:r>
            </a:p>
            <a:p>
              <a:pPr algn="l" eaLnBrk="0" hangingPunct="0">
                <a:buClr>
                  <a:schemeClr val="bg1"/>
                </a:buClr>
              </a:pPr>
              <a:endParaRPr lang="de-DE" sz="1400" dirty="0"/>
            </a:p>
          </p:txBody>
        </p:sp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8D8F39EE-F5A1-4B57-B58C-4497E293832B}"/>
                </a:ext>
              </a:extLst>
            </p:cNvPr>
            <p:cNvSpPr/>
            <p:nvPr/>
          </p:nvSpPr>
          <p:spPr>
            <a:xfrm>
              <a:off x="4656000" y="1682796"/>
              <a:ext cx="2880000" cy="32385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de-DE" sz="1400" b="1" dirty="0"/>
                <a:t>Unternehmensübersicht</a:t>
              </a:r>
            </a:p>
          </p:txBody>
        </p:sp>
        <p:cxnSp>
          <p:nvCxnSpPr>
            <p:cNvPr id="32" name="Straight Connector 31">
              <a:extLst>
                <a:ext uri="{FF2B5EF4-FFF2-40B4-BE49-F238E27FC236}">
                  <a16:creationId xmlns:a16="http://schemas.microsoft.com/office/drawing/2014/main" id="{A7067729-9CFF-45DA-9742-A198337A8AFA}"/>
                </a:ext>
              </a:extLst>
            </p:cNvPr>
            <p:cNvCxnSpPr>
              <a:cxnSpLocks/>
            </p:cNvCxnSpPr>
            <p:nvPr/>
          </p:nvCxnSpPr>
          <p:spPr>
            <a:xfrm>
              <a:off x="4631953" y="2006646"/>
              <a:ext cx="2957175" cy="0"/>
            </a:xfrm>
            <a:prstGeom prst="line">
              <a:avLst/>
            </a:prstGeom>
            <a:ln w="38100"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8" name="Group 37">
            <a:extLst>
              <a:ext uri="{FF2B5EF4-FFF2-40B4-BE49-F238E27FC236}">
                <a16:creationId xmlns:a16="http://schemas.microsoft.com/office/drawing/2014/main" id="{0E02A981-A3DB-457D-A4C7-E77C4A6F8CA3}"/>
              </a:ext>
            </a:extLst>
          </p:cNvPr>
          <p:cNvGrpSpPr/>
          <p:nvPr/>
        </p:nvGrpSpPr>
        <p:grpSpPr>
          <a:xfrm>
            <a:off x="4617413" y="4793680"/>
            <a:ext cx="2957175" cy="1440000"/>
            <a:chOff x="4631953" y="4702606"/>
            <a:chExt cx="2957175" cy="1440000"/>
          </a:xfrm>
        </p:grpSpPr>
        <p:sp>
          <p:nvSpPr>
            <p:cNvPr id="20" name="AutoShape 4">
              <a:extLst>
                <a:ext uri="{FF2B5EF4-FFF2-40B4-BE49-F238E27FC236}">
                  <a16:creationId xmlns:a16="http://schemas.microsoft.com/office/drawing/2014/main" id="{094B5B36-C1BA-430D-8BB9-E52FE37940DF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5400000" flipH="1">
              <a:off x="5376000" y="3982606"/>
              <a:ext cx="1440000" cy="2880000"/>
            </a:xfrm>
            <a:prstGeom prst="homePlate">
              <a:avLst>
                <a:gd name="adj" fmla="val 25000"/>
              </a:avLst>
            </a:prstGeom>
            <a:solidFill>
              <a:schemeClr val="bg1">
                <a:lumMod val="85000"/>
              </a:schemeClr>
            </a:solidFill>
            <a:ln w="6350">
              <a:noFill/>
              <a:miter lim="800000"/>
              <a:headEnd/>
              <a:tailEnd/>
            </a:ln>
            <a:effectLst/>
          </p:spPr>
          <p:txBody>
            <a:bodyPr rot="10800000" vert="eaVert" lIns="72000" tIns="72000" rIns="72000" bIns="72000" anchor="t"/>
            <a:lstStyle/>
            <a:p>
              <a:endParaRPr lang="de-DE" sz="1400" b="1" dirty="0"/>
            </a:p>
            <a:p>
              <a:pPr marL="285750" indent="-285750">
                <a:buFont typeface="Wingdings" panose="05000000000000000000" pitchFamily="2" charset="2"/>
                <a:buChar char="§"/>
              </a:pPr>
              <a:r>
                <a:rPr lang="de-DE" sz="1400" dirty="0"/>
                <a:t>Templates für Bewerbungsunterlagen</a:t>
              </a:r>
            </a:p>
          </p:txBody>
        </p:sp>
        <p:sp>
          <p:nvSpPr>
            <p:cNvPr id="35" name="Rectangle 34">
              <a:extLst>
                <a:ext uri="{FF2B5EF4-FFF2-40B4-BE49-F238E27FC236}">
                  <a16:creationId xmlns:a16="http://schemas.microsoft.com/office/drawing/2014/main" id="{14417209-CA39-4098-BB2C-056712243274}"/>
                </a:ext>
              </a:extLst>
            </p:cNvPr>
            <p:cNvSpPr/>
            <p:nvPr/>
          </p:nvSpPr>
          <p:spPr>
            <a:xfrm>
              <a:off x="4656000" y="5818756"/>
              <a:ext cx="2880000" cy="32385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de-DE" sz="1400" b="1" dirty="0"/>
                <a:t>Bewerbungsprozess</a:t>
              </a:r>
            </a:p>
          </p:txBody>
        </p:sp>
        <p:cxnSp>
          <p:nvCxnSpPr>
            <p:cNvPr id="36" name="Straight Connector 35">
              <a:extLst>
                <a:ext uri="{FF2B5EF4-FFF2-40B4-BE49-F238E27FC236}">
                  <a16:creationId xmlns:a16="http://schemas.microsoft.com/office/drawing/2014/main" id="{E91B3F6C-8167-44E5-BF37-7081A27A6265}"/>
                </a:ext>
              </a:extLst>
            </p:cNvPr>
            <p:cNvCxnSpPr>
              <a:cxnSpLocks/>
            </p:cNvCxnSpPr>
            <p:nvPr/>
          </p:nvCxnSpPr>
          <p:spPr>
            <a:xfrm>
              <a:off x="4631953" y="5818756"/>
              <a:ext cx="2957175" cy="0"/>
            </a:xfrm>
            <a:prstGeom prst="line">
              <a:avLst/>
            </a:prstGeom>
            <a:ln w="38100"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6" name="Title 1">
            <a:extLst>
              <a:ext uri="{FF2B5EF4-FFF2-40B4-BE49-F238E27FC236}">
                <a16:creationId xmlns:a16="http://schemas.microsoft.com/office/drawing/2014/main" id="{04869D5E-659D-4D38-A07B-76B15E89DD4F}"/>
              </a:ext>
            </a:extLst>
          </p:cNvPr>
          <p:cNvSpPr txBox="1">
            <a:spLocks/>
          </p:cNvSpPr>
          <p:nvPr/>
        </p:nvSpPr>
        <p:spPr>
          <a:xfrm>
            <a:off x="375383" y="301752"/>
            <a:ext cx="5448474" cy="660774"/>
          </a:xfrm>
          <a:prstGeom prst="rect">
            <a:avLst/>
          </a:prstGeom>
          <a:noFill/>
          <a:ln>
            <a:noFill/>
          </a:ln>
        </p:spPr>
        <p:txBody>
          <a:bodyPr anchor="ctr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 cap="all" spc="200" baseline="0">
                <a:solidFill>
                  <a:srgbClr val="262626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dirty="0" err="1"/>
              <a:t>Recap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53517073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077EC36F-83F3-437B-BEC8-202112F6B8F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145614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1"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077EC36F-83F3-437B-BEC8-202112F6B8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6840444D-099E-4609-989C-6059DDB630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67400" y="301752"/>
            <a:ext cx="5947830" cy="660774"/>
          </a:xfrm>
        </p:spPr>
        <p:txBody>
          <a:bodyPr/>
          <a:lstStyle/>
          <a:p>
            <a:pPr algn="r"/>
            <a:r>
              <a:rPr lang="de-DE" dirty="0"/>
              <a:t>Geschäftsidee</a:t>
            </a:r>
          </a:p>
        </p:txBody>
      </p:sp>
      <p:sp>
        <p:nvSpPr>
          <p:cNvPr id="7" name="Footer Placeholder 11">
            <a:extLst>
              <a:ext uri="{FF2B5EF4-FFF2-40B4-BE49-F238E27FC236}">
                <a16:creationId xmlns:a16="http://schemas.microsoft.com/office/drawing/2014/main" id="{416FA511-A7B1-45AB-8073-00E9B7B09EB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75384" y="6556247"/>
            <a:ext cx="6862233" cy="229563"/>
          </a:xfrm>
          <a:prstGeom prst="rect">
            <a:avLst/>
          </a:prstGeom>
        </p:spPr>
        <p:txBody>
          <a:bodyPr/>
          <a:lstStyle/>
          <a:p>
            <a:r>
              <a:rPr lang="en-US" sz="900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pyright © 2019 dual study fit. All rights reserved. </a:t>
            </a:r>
            <a:endParaRPr lang="de-DE" sz="900" dirty="0">
              <a:solidFill>
                <a:schemeClr val="bg1">
                  <a:lumMod val="6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1E93EDDA-7AA6-4634-BC44-D6C579D84CD1}"/>
              </a:ext>
            </a:extLst>
          </p:cNvPr>
          <p:cNvSpPr txBox="1">
            <a:spLocks/>
          </p:cNvSpPr>
          <p:nvPr/>
        </p:nvSpPr>
        <p:spPr>
          <a:xfrm>
            <a:off x="375383" y="969028"/>
            <a:ext cx="11439850" cy="330387"/>
          </a:xfrm>
          <a:prstGeom prst="rect">
            <a:avLst/>
          </a:prstGeom>
          <a:noFill/>
          <a:ln>
            <a:noFill/>
          </a:ln>
        </p:spPr>
        <p:txBody>
          <a:bodyPr anchor="ctr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 cap="all" spc="200" baseline="0">
                <a:solidFill>
                  <a:srgbClr val="262626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sz="2000" b="0" i="1" cap="none" dirty="0"/>
              <a:t>Für die Kommerzialisierung von dual </a:t>
            </a:r>
            <a:r>
              <a:rPr lang="de-DE" sz="2000" b="0" i="1" cap="none" dirty="0" err="1"/>
              <a:t>study</a:t>
            </a:r>
            <a:r>
              <a:rPr lang="de-DE" sz="2000" b="0" i="1" cap="none" dirty="0"/>
              <a:t> fit wurden 3 Revenue Models in Betracht gezogen.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220F9F8B-D0B7-4F2D-BB8C-0EADD1E7D744}"/>
              </a:ext>
            </a:extLst>
          </p:cNvPr>
          <p:cNvSpPr/>
          <p:nvPr/>
        </p:nvSpPr>
        <p:spPr>
          <a:xfrm>
            <a:off x="375384" y="4393514"/>
            <a:ext cx="7636503" cy="947057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e-DE" b="1" dirty="0">
                <a:solidFill>
                  <a:schemeClr val="tx1"/>
                </a:solidFill>
              </a:rPr>
              <a:t>	Werbung</a:t>
            </a:r>
            <a:r>
              <a:rPr lang="de-DE" dirty="0">
                <a:solidFill>
                  <a:schemeClr val="tx1"/>
                </a:solidFill>
              </a:rPr>
              <a:t> auf der Website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1F93009B-87F0-48BB-9D4F-467E6C78DDA3}"/>
              </a:ext>
            </a:extLst>
          </p:cNvPr>
          <p:cNvSpPr/>
          <p:nvPr/>
        </p:nvSpPr>
        <p:spPr>
          <a:xfrm>
            <a:off x="375383" y="1864498"/>
            <a:ext cx="7636503" cy="94705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e-DE" b="1" dirty="0">
                <a:solidFill>
                  <a:schemeClr val="bg1"/>
                </a:solidFill>
              </a:rPr>
              <a:t>	Gebühr</a:t>
            </a:r>
            <a:r>
              <a:rPr lang="de-DE" dirty="0">
                <a:solidFill>
                  <a:schemeClr val="bg1"/>
                </a:solidFill>
              </a:rPr>
              <a:t> für die Nutzung der Plattform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988874CF-9487-49B2-8FAD-338310AD155B}"/>
              </a:ext>
            </a:extLst>
          </p:cNvPr>
          <p:cNvSpPr/>
          <p:nvPr/>
        </p:nvSpPr>
        <p:spPr>
          <a:xfrm>
            <a:off x="375383" y="3129006"/>
            <a:ext cx="7636503" cy="94705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e-DE" b="1" dirty="0">
                <a:solidFill>
                  <a:schemeClr val="bg1"/>
                </a:solidFill>
              </a:rPr>
              <a:t>	Provision</a:t>
            </a:r>
            <a:r>
              <a:rPr lang="de-DE" dirty="0">
                <a:solidFill>
                  <a:schemeClr val="bg1"/>
                </a:solidFill>
              </a:rPr>
              <a:t> für eine erfolgreiche Vermittlung</a:t>
            </a:r>
          </a:p>
        </p:txBody>
      </p:sp>
      <p:sp>
        <p:nvSpPr>
          <p:cNvPr id="20" name="Arrow: Pentagon 19">
            <a:extLst>
              <a:ext uri="{FF2B5EF4-FFF2-40B4-BE49-F238E27FC236}">
                <a16:creationId xmlns:a16="http://schemas.microsoft.com/office/drawing/2014/main" id="{A68BC1ED-2FCA-4F49-A7D8-57479210C636}"/>
              </a:ext>
            </a:extLst>
          </p:cNvPr>
          <p:cNvSpPr/>
          <p:nvPr/>
        </p:nvSpPr>
        <p:spPr>
          <a:xfrm flipH="1">
            <a:off x="8207828" y="1864498"/>
            <a:ext cx="3607403" cy="947057"/>
          </a:xfrm>
          <a:prstGeom prst="homePlat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/>
              <a:t>Partnerunternehmen</a:t>
            </a:r>
          </a:p>
        </p:txBody>
      </p:sp>
      <p:sp>
        <p:nvSpPr>
          <p:cNvPr id="30" name="Arrow: Pentagon 29">
            <a:extLst>
              <a:ext uri="{FF2B5EF4-FFF2-40B4-BE49-F238E27FC236}">
                <a16:creationId xmlns:a16="http://schemas.microsoft.com/office/drawing/2014/main" id="{0A6395D3-7881-4EFD-860C-FA700AA5DBF3}"/>
              </a:ext>
            </a:extLst>
          </p:cNvPr>
          <p:cNvSpPr/>
          <p:nvPr/>
        </p:nvSpPr>
        <p:spPr>
          <a:xfrm flipH="1">
            <a:off x="8207828" y="3129005"/>
            <a:ext cx="3607403" cy="947057"/>
          </a:xfrm>
          <a:prstGeom prst="homePlat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/>
              <a:t>Partnerunternehmen</a:t>
            </a:r>
          </a:p>
        </p:txBody>
      </p:sp>
      <p:sp>
        <p:nvSpPr>
          <p:cNvPr id="31" name="Arrow: Pentagon 30">
            <a:extLst>
              <a:ext uri="{FF2B5EF4-FFF2-40B4-BE49-F238E27FC236}">
                <a16:creationId xmlns:a16="http://schemas.microsoft.com/office/drawing/2014/main" id="{671F96BE-47BF-44BE-89F7-2A853956A1B4}"/>
              </a:ext>
            </a:extLst>
          </p:cNvPr>
          <p:cNvSpPr/>
          <p:nvPr/>
        </p:nvSpPr>
        <p:spPr>
          <a:xfrm flipH="1">
            <a:off x="8207828" y="4393512"/>
            <a:ext cx="3607403" cy="947057"/>
          </a:xfrm>
          <a:prstGeom prst="homePlat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solidFill>
                  <a:schemeClr val="tx1"/>
                </a:solidFill>
              </a:rPr>
              <a:t>Drittpartei</a:t>
            </a:r>
          </a:p>
        </p:txBody>
      </p:sp>
      <p:grpSp>
        <p:nvGrpSpPr>
          <p:cNvPr id="32" name="Group 78">
            <a:extLst>
              <a:ext uri="{FF2B5EF4-FFF2-40B4-BE49-F238E27FC236}">
                <a16:creationId xmlns:a16="http://schemas.microsoft.com/office/drawing/2014/main" id="{CF29E017-1990-4D55-8766-D31305FED8D2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6893713" y="3403490"/>
            <a:ext cx="637200" cy="388361"/>
            <a:chOff x="1551" y="2020"/>
            <a:chExt cx="443" cy="270"/>
          </a:xfrm>
          <a:solidFill>
            <a:schemeClr val="bg1"/>
          </a:solidFill>
        </p:grpSpPr>
        <p:sp>
          <p:nvSpPr>
            <p:cNvPr id="33" name="Freeform 79">
              <a:extLst>
                <a:ext uri="{FF2B5EF4-FFF2-40B4-BE49-F238E27FC236}">
                  <a16:creationId xmlns:a16="http://schemas.microsoft.com/office/drawing/2014/main" id="{BCDD8A92-962D-4B2A-830B-2FCDA24EAEC3}"/>
                </a:ext>
              </a:extLst>
            </p:cNvPr>
            <p:cNvSpPr>
              <a:spLocks/>
            </p:cNvSpPr>
            <p:nvPr/>
          </p:nvSpPr>
          <p:spPr bwMode="auto">
            <a:xfrm>
              <a:off x="1773" y="2073"/>
              <a:ext cx="221" cy="91"/>
            </a:xfrm>
            <a:custGeom>
              <a:avLst/>
              <a:gdLst>
                <a:gd name="T0" fmla="*/ 66 w 144"/>
                <a:gd name="T1" fmla="*/ 61 h 61"/>
                <a:gd name="T2" fmla="*/ 6 w 144"/>
                <a:gd name="T3" fmla="*/ 61 h 61"/>
                <a:gd name="T4" fmla="*/ 0 w 144"/>
                <a:gd name="T5" fmla="*/ 55 h 61"/>
                <a:gd name="T6" fmla="*/ 6 w 144"/>
                <a:gd name="T7" fmla="*/ 49 h 61"/>
                <a:gd name="T8" fmla="*/ 64 w 144"/>
                <a:gd name="T9" fmla="*/ 49 h 61"/>
                <a:gd name="T10" fmla="*/ 134 w 144"/>
                <a:gd name="T11" fmla="*/ 2 h 61"/>
                <a:gd name="T12" fmla="*/ 143 w 144"/>
                <a:gd name="T13" fmla="*/ 4 h 61"/>
                <a:gd name="T14" fmla="*/ 141 w 144"/>
                <a:gd name="T15" fmla="*/ 12 h 61"/>
                <a:gd name="T16" fmla="*/ 69 w 144"/>
                <a:gd name="T17" fmla="*/ 60 h 61"/>
                <a:gd name="T18" fmla="*/ 66 w 144"/>
                <a:gd name="T19" fmla="*/ 61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4" h="61">
                  <a:moveTo>
                    <a:pt x="66" y="61"/>
                  </a:moveTo>
                  <a:cubicBezTo>
                    <a:pt x="6" y="61"/>
                    <a:pt x="6" y="61"/>
                    <a:pt x="6" y="61"/>
                  </a:cubicBezTo>
                  <a:cubicBezTo>
                    <a:pt x="2" y="61"/>
                    <a:pt x="0" y="58"/>
                    <a:pt x="0" y="55"/>
                  </a:cubicBezTo>
                  <a:cubicBezTo>
                    <a:pt x="0" y="52"/>
                    <a:pt x="2" y="49"/>
                    <a:pt x="6" y="49"/>
                  </a:cubicBezTo>
                  <a:cubicBezTo>
                    <a:pt x="64" y="49"/>
                    <a:pt x="64" y="49"/>
                    <a:pt x="64" y="49"/>
                  </a:cubicBezTo>
                  <a:cubicBezTo>
                    <a:pt x="134" y="2"/>
                    <a:pt x="134" y="2"/>
                    <a:pt x="134" y="2"/>
                  </a:cubicBezTo>
                  <a:cubicBezTo>
                    <a:pt x="137" y="0"/>
                    <a:pt x="141" y="1"/>
                    <a:pt x="143" y="4"/>
                  </a:cubicBezTo>
                  <a:cubicBezTo>
                    <a:pt x="144" y="6"/>
                    <a:pt x="144" y="10"/>
                    <a:pt x="141" y="12"/>
                  </a:cubicBezTo>
                  <a:cubicBezTo>
                    <a:pt x="69" y="60"/>
                    <a:pt x="69" y="60"/>
                    <a:pt x="69" y="60"/>
                  </a:cubicBezTo>
                  <a:cubicBezTo>
                    <a:pt x="68" y="61"/>
                    <a:pt x="67" y="61"/>
                    <a:pt x="66" y="6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4" name="Freeform 80">
              <a:extLst>
                <a:ext uri="{FF2B5EF4-FFF2-40B4-BE49-F238E27FC236}">
                  <a16:creationId xmlns:a16="http://schemas.microsoft.com/office/drawing/2014/main" id="{88B3C1E2-FB0C-45C0-92B6-C4ABD9FD45F6}"/>
                </a:ext>
              </a:extLst>
            </p:cNvPr>
            <p:cNvSpPr>
              <a:spLocks/>
            </p:cNvSpPr>
            <p:nvPr/>
          </p:nvSpPr>
          <p:spPr bwMode="auto">
            <a:xfrm>
              <a:off x="1773" y="2109"/>
              <a:ext cx="221" cy="91"/>
            </a:xfrm>
            <a:custGeom>
              <a:avLst/>
              <a:gdLst>
                <a:gd name="T0" fmla="*/ 66 w 144"/>
                <a:gd name="T1" fmla="*/ 61 h 61"/>
                <a:gd name="T2" fmla="*/ 6 w 144"/>
                <a:gd name="T3" fmla="*/ 61 h 61"/>
                <a:gd name="T4" fmla="*/ 0 w 144"/>
                <a:gd name="T5" fmla="*/ 55 h 61"/>
                <a:gd name="T6" fmla="*/ 6 w 144"/>
                <a:gd name="T7" fmla="*/ 49 h 61"/>
                <a:gd name="T8" fmla="*/ 64 w 144"/>
                <a:gd name="T9" fmla="*/ 49 h 61"/>
                <a:gd name="T10" fmla="*/ 134 w 144"/>
                <a:gd name="T11" fmla="*/ 2 h 61"/>
                <a:gd name="T12" fmla="*/ 143 w 144"/>
                <a:gd name="T13" fmla="*/ 4 h 61"/>
                <a:gd name="T14" fmla="*/ 141 w 144"/>
                <a:gd name="T15" fmla="*/ 12 h 61"/>
                <a:gd name="T16" fmla="*/ 69 w 144"/>
                <a:gd name="T17" fmla="*/ 60 h 61"/>
                <a:gd name="T18" fmla="*/ 66 w 144"/>
                <a:gd name="T19" fmla="*/ 61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4" h="61">
                  <a:moveTo>
                    <a:pt x="66" y="61"/>
                  </a:moveTo>
                  <a:cubicBezTo>
                    <a:pt x="6" y="61"/>
                    <a:pt x="6" y="61"/>
                    <a:pt x="6" y="61"/>
                  </a:cubicBezTo>
                  <a:cubicBezTo>
                    <a:pt x="2" y="61"/>
                    <a:pt x="0" y="58"/>
                    <a:pt x="0" y="55"/>
                  </a:cubicBezTo>
                  <a:cubicBezTo>
                    <a:pt x="0" y="52"/>
                    <a:pt x="2" y="49"/>
                    <a:pt x="6" y="49"/>
                  </a:cubicBezTo>
                  <a:cubicBezTo>
                    <a:pt x="64" y="49"/>
                    <a:pt x="64" y="49"/>
                    <a:pt x="64" y="49"/>
                  </a:cubicBezTo>
                  <a:cubicBezTo>
                    <a:pt x="134" y="2"/>
                    <a:pt x="134" y="2"/>
                    <a:pt x="134" y="2"/>
                  </a:cubicBezTo>
                  <a:cubicBezTo>
                    <a:pt x="137" y="0"/>
                    <a:pt x="141" y="1"/>
                    <a:pt x="143" y="4"/>
                  </a:cubicBezTo>
                  <a:cubicBezTo>
                    <a:pt x="144" y="6"/>
                    <a:pt x="144" y="10"/>
                    <a:pt x="141" y="12"/>
                  </a:cubicBezTo>
                  <a:cubicBezTo>
                    <a:pt x="69" y="60"/>
                    <a:pt x="69" y="60"/>
                    <a:pt x="69" y="60"/>
                  </a:cubicBezTo>
                  <a:cubicBezTo>
                    <a:pt x="68" y="61"/>
                    <a:pt x="67" y="61"/>
                    <a:pt x="66" y="6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5" name="Freeform 81">
              <a:extLst>
                <a:ext uri="{FF2B5EF4-FFF2-40B4-BE49-F238E27FC236}">
                  <a16:creationId xmlns:a16="http://schemas.microsoft.com/office/drawing/2014/main" id="{1FFF40A0-EB6B-46ED-8B0F-82FC8773F381}"/>
                </a:ext>
              </a:extLst>
            </p:cNvPr>
            <p:cNvSpPr>
              <a:spLocks/>
            </p:cNvSpPr>
            <p:nvPr/>
          </p:nvSpPr>
          <p:spPr bwMode="auto">
            <a:xfrm>
              <a:off x="1773" y="2144"/>
              <a:ext cx="221" cy="92"/>
            </a:xfrm>
            <a:custGeom>
              <a:avLst/>
              <a:gdLst>
                <a:gd name="T0" fmla="*/ 66 w 144"/>
                <a:gd name="T1" fmla="*/ 61 h 61"/>
                <a:gd name="T2" fmla="*/ 6 w 144"/>
                <a:gd name="T3" fmla="*/ 61 h 61"/>
                <a:gd name="T4" fmla="*/ 0 w 144"/>
                <a:gd name="T5" fmla="*/ 55 h 61"/>
                <a:gd name="T6" fmla="*/ 6 w 144"/>
                <a:gd name="T7" fmla="*/ 49 h 61"/>
                <a:gd name="T8" fmla="*/ 64 w 144"/>
                <a:gd name="T9" fmla="*/ 49 h 61"/>
                <a:gd name="T10" fmla="*/ 134 w 144"/>
                <a:gd name="T11" fmla="*/ 2 h 61"/>
                <a:gd name="T12" fmla="*/ 143 w 144"/>
                <a:gd name="T13" fmla="*/ 4 h 61"/>
                <a:gd name="T14" fmla="*/ 141 w 144"/>
                <a:gd name="T15" fmla="*/ 12 h 61"/>
                <a:gd name="T16" fmla="*/ 69 w 144"/>
                <a:gd name="T17" fmla="*/ 60 h 61"/>
                <a:gd name="T18" fmla="*/ 66 w 144"/>
                <a:gd name="T19" fmla="*/ 61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4" h="61">
                  <a:moveTo>
                    <a:pt x="66" y="61"/>
                  </a:moveTo>
                  <a:cubicBezTo>
                    <a:pt x="6" y="61"/>
                    <a:pt x="6" y="61"/>
                    <a:pt x="6" y="61"/>
                  </a:cubicBezTo>
                  <a:cubicBezTo>
                    <a:pt x="2" y="61"/>
                    <a:pt x="0" y="58"/>
                    <a:pt x="0" y="55"/>
                  </a:cubicBezTo>
                  <a:cubicBezTo>
                    <a:pt x="0" y="52"/>
                    <a:pt x="2" y="49"/>
                    <a:pt x="6" y="49"/>
                  </a:cubicBezTo>
                  <a:cubicBezTo>
                    <a:pt x="64" y="49"/>
                    <a:pt x="64" y="49"/>
                    <a:pt x="64" y="49"/>
                  </a:cubicBezTo>
                  <a:cubicBezTo>
                    <a:pt x="134" y="2"/>
                    <a:pt x="134" y="2"/>
                    <a:pt x="134" y="2"/>
                  </a:cubicBezTo>
                  <a:cubicBezTo>
                    <a:pt x="137" y="0"/>
                    <a:pt x="141" y="1"/>
                    <a:pt x="143" y="4"/>
                  </a:cubicBezTo>
                  <a:cubicBezTo>
                    <a:pt x="144" y="6"/>
                    <a:pt x="144" y="10"/>
                    <a:pt x="141" y="12"/>
                  </a:cubicBezTo>
                  <a:cubicBezTo>
                    <a:pt x="69" y="60"/>
                    <a:pt x="69" y="60"/>
                    <a:pt x="69" y="60"/>
                  </a:cubicBezTo>
                  <a:cubicBezTo>
                    <a:pt x="68" y="61"/>
                    <a:pt x="67" y="61"/>
                    <a:pt x="66" y="6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6" name="Freeform 82">
              <a:extLst>
                <a:ext uri="{FF2B5EF4-FFF2-40B4-BE49-F238E27FC236}">
                  <a16:creationId xmlns:a16="http://schemas.microsoft.com/office/drawing/2014/main" id="{18B6339E-476F-487D-BDFF-6EA10A38CC5B}"/>
                </a:ext>
              </a:extLst>
            </p:cNvPr>
            <p:cNvSpPr>
              <a:spLocks/>
            </p:cNvSpPr>
            <p:nvPr/>
          </p:nvSpPr>
          <p:spPr bwMode="auto">
            <a:xfrm>
              <a:off x="1773" y="2180"/>
              <a:ext cx="221" cy="92"/>
            </a:xfrm>
            <a:custGeom>
              <a:avLst/>
              <a:gdLst>
                <a:gd name="T0" fmla="*/ 66 w 144"/>
                <a:gd name="T1" fmla="*/ 61 h 61"/>
                <a:gd name="T2" fmla="*/ 6 w 144"/>
                <a:gd name="T3" fmla="*/ 61 h 61"/>
                <a:gd name="T4" fmla="*/ 0 w 144"/>
                <a:gd name="T5" fmla="*/ 55 h 61"/>
                <a:gd name="T6" fmla="*/ 6 w 144"/>
                <a:gd name="T7" fmla="*/ 49 h 61"/>
                <a:gd name="T8" fmla="*/ 64 w 144"/>
                <a:gd name="T9" fmla="*/ 49 h 61"/>
                <a:gd name="T10" fmla="*/ 134 w 144"/>
                <a:gd name="T11" fmla="*/ 2 h 61"/>
                <a:gd name="T12" fmla="*/ 143 w 144"/>
                <a:gd name="T13" fmla="*/ 4 h 61"/>
                <a:gd name="T14" fmla="*/ 141 w 144"/>
                <a:gd name="T15" fmla="*/ 12 h 61"/>
                <a:gd name="T16" fmla="*/ 69 w 144"/>
                <a:gd name="T17" fmla="*/ 60 h 61"/>
                <a:gd name="T18" fmla="*/ 66 w 144"/>
                <a:gd name="T19" fmla="*/ 61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4" h="61">
                  <a:moveTo>
                    <a:pt x="66" y="61"/>
                  </a:moveTo>
                  <a:cubicBezTo>
                    <a:pt x="6" y="61"/>
                    <a:pt x="6" y="61"/>
                    <a:pt x="6" y="61"/>
                  </a:cubicBezTo>
                  <a:cubicBezTo>
                    <a:pt x="2" y="61"/>
                    <a:pt x="0" y="58"/>
                    <a:pt x="0" y="55"/>
                  </a:cubicBezTo>
                  <a:cubicBezTo>
                    <a:pt x="0" y="52"/>
                    <a:pt x="2" y="49"/>
                    <a:pt x="6" y="49"/>
                  </a:cubicBezTo>
                  <a:cubicBezTo>
                    <a:pt x="64" y="49"/>
                    <a:pt x="64" y="49"/>
                    <a:pt x="64" y="49"/>
                  </a:cubicBezTo>
                  <a:cubicBezTo>
                    <a:pt x="134" y="2"/>
                    <a:pt x="134" y="2"/>
                    <a:pt x="134" y="2"/>
                  </a:cubicBezTo>
                  <a:cubicBezTo>
                    <a:pt x="137" y="0"/>
                    <a:pt x="141" y="1"/>
                    <a:pt x="143" y="4"/>
                  </a:cubicBezTo>
                  <a:cubicBezTo>
                    <a:pt x="144" y="6"/>
                    <a:pt x="144" y="10"/>
                    <a:pt x="141" y="12"/>
                  </a:cubicBezTo>
                  <a:cubicBezTo>
                    <a:pt x="69" y="60"/>
                    <a:pt x="69" y="60"/>
                    <a:pt x="69" y="60"/>
                  </a:cubicBezTo>
                  <a:cubicBezTo>
                    <a:pt x="68" y="61"/>
                    <a:pt x="67" y="61"/>
                    <a:pt x="66" y="6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7" name="Freeform 83">
              <a:extLst>
                <a:ext uri="{FF2B5EF4-FFF2-40B4-BE49-F238E27FC236}">
                  <a16:creationId xmlns:a16="http://schemas.microsoft.com/office/drawing/2014/main" id="{B611AE7F-E1DC-49AA-9691-E7ED9DF619D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44" y="2020"/>
              <a:ext cx="258" cy="270"/>
            </a:xfrm>
            <a:custGeom>
              <a:avLst/>
              <a:gdLst>
                <a:gd name="T0" fmla="*/ 90 w 168"/>
                <a:gd name="T1" fmla="*/ 180 h 180"/>
                <a:gd name="T2" fmla="*/ 6 w 168"/>
                <a:gd name="T3" fmla="*/ 180 h 180"/>
                <a:gd name="T4" fmla="*/ 0 w 168"/>
                <a:gd name="T5" fmla="*/ 174 h 180"/>
                <a:gd name="T6" fmla="*/ 0 w 168"/>
                <a:gd name="T7" fmla="*/ 60 h 180"/>
                <a:gd name="T8" fmla="*/ 2 w 168"/>
                <a:gd name="T9" fmla="*/ 55 h 180"/>
                <a:gd name="T10" fmla="*/ 74 w 168"/>
                <a:gd name="T11" fmla="*/ 1 h 180"/>
                <a:gd name="T12" fmla="*/ 78 w 168"/>
                <a:gd name="T13" fmla="*/ 0 h 180"/>
                <a:gd name="T14" fmla="*/ 162 w 168"/>
                <a:gd name="T15" fmla="*/ 0 h 180"/>
                <a:gd name="T16" fmla="*/ 167 w 168"/>
                <a:gd name="T17" fmla="*/ 4 h 180"/>
                <a:gd name="T18" fmla="*/ 165 w 168"/>
                <a:gd name="T19" fmla="*/ 11 h 180"/>
                <a:gd name="T20" fmla="*/ 96 w 168"/>
                <a:gd name="T21" fmla="*/ 63 h 180"/>
                <a:gd name="T22" fmla="*/ 96 w 168"/>
                <a:gd name="T23" fmla="*/ 174 h 180"/>
                <a:gd name="T24" fmla="*/ 90 w 168"/>
                <a:gd name="T25" fmla="*/ 180 h 180"/>
                <a:gd name="T26" fmla="*/ 12 w 168"/>
                <a:gd name="T27" fmla="*/ 168 h 180"/>
                <a:gd name="T28" fmla="*/ 84 w 168"/>
                <a:gd name="T29" fmla="*/ 168 h 180"/>
                <a:gd name="T30" fmla="*/ 84 w 168"/>
                <a:gd name="T31" fmla="*/ 60 h 180"/>
                <a:gd name="T32" fmla="*/ 86 w 168"/>
                <a:gd name="T33" fmla="*/ 55 h 180"/>
                <a:gd name="T34" fmla="*/ 144 w 168"/>
                <a:gd name="T35" fmla="*/ 12 h 180"/>
                <a:gd name="T36" fmla="*/ 80 w 168"/>
                <a:gd name="T37" fmla="*/ 12 h 180"/>
                <a:gd name="T38" fmla="*/ 12 w 168"/>
                <a:gd name="T39" fmla="*/ 63 h 180"/>
                <a:gd name="T40" fmla="*/ 12 w 168"/>
                <a:gd name="T41" fmla="*/ 168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68" h="180">
                  <a:moveTo>
                    <a:pt x="90" y="180"/>
                  </a:moveTo>
                  <a:cubicBezTo>
                    <a:pt x="6" y="180"/>
                    <a:pt x="6" y="180"/>
                    <a:pt x="6" y="180"/>
                  </a:cubicBezTo>
                  <a:cubicBezTo>
                    <a:pt x="2" y="180"/>
                    <a:pt x="0" y="177"/>
                    <a:pt x="0" y="174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0" y="58"/>
                    <a:pt x="1" y="56"/>
                    <a:pt x="2" y="55"/>
                  </a:cubicBezTo>
                  <a:cubicBezTo>
                    <a:pt x="74" y="1"/>
                    <a:pt x="74" y="1"/>
                    <a:pt x="74" y="1"/>
                  </a:cubicBezTo>
                  <a:cubicBezTo>
                    <a:pt x="75" y="0"/>
                    <a:pt x="76" y="0"/>
                    <a:pt x="78" y="0"/>
                  </a:cubicBezTo>
                  <a:cubicBezTo>
                    <a:pt x="162" y="0"/>
                    <a:pt x="162" y="0"/>
                    <a:pt x="162" y="0"/>
                  </a:cubicBezTo>
                  <a:cubicBezTo>
                    <a:pt x="164" y="0"/>
                    <a:pt x="167" y="2"/>
                    <a:pt x="167" y="4"/>
                  </a:cubicBezTo>
                  <a:cubicBezTo>
                    <a:pt x="168" y="7"/>
                    <a:pt x="167" y="9"/>
                    <a:pt x="165" y="11"/>
                  </a:cubicBezTo>
                  <a:cubicBezTo>
                    <a:pt x="96" y="63"/>
                    <a:pt x="96" y="63"/>
                    <a:pt x="96" y="63"/>
                  </a:cubicBezTo>
                  <a:cubicBezTo>
                    <a:pt x="96" y="174"/>
                    <a:pt x="96" y="174"/>
                    <a:pt x="96" y="174"/>
                  </a:cubicBezTo>
                  <a:cubicBezTo>
                    <a:pt x="96" y="177"/>
                    <a:pt x="93" y="180"/>
                    <a:pt x="90" y="180"/>
                  </a:cubicBezTo>
                  <a:close/>
                  <a:moveTo>
                    <a:pt x="12" y="168"/>
                  </a:moveTo>
                  <a:cubicBezTo>
                    <a:pt x="84" y="168"/>
                    <a:pt x="84" y="168"/>
                    <a:pt x="84" y="168"/>
                  </a:cubicBezTo>
                  <a:cubicBezTo>
                    <a:pt x="84" y="60"/>
                    <a:pt x="84" y="60"/>
                    <a:pt x="84" y="60"/>
                  </a:cubicBezTo>
                  <a:cubicBezTo>
                    <a:pt x="84" y="58"/>
                    <a:pt x="85" y="56"/>
                    <a:pt x="86" y="55"/>
                  </a:cubicBezTo>
                  <a:cubicBezTo>
                    <a:pt x="144" y="12"/>
                    <a:pt x="144" y="12"/>
                    <a:pt x="144" y="12"/>
                  </a:cubicBezTo>
                  <a:cubicBezTo>
                    <a:pt x="80" y="12"/>
                    <a:pt x="80" y="12"/>
                    <a:pt x="80" y="12"/>
                  </a:cubicBezTo>
                  <a:cubicBezTo>
                    <a:pt x="12" y="63"/>
                    <a:pt x="12" y="63"/>
                    <a:pt x="12" y="63"/>
                  </a:cubicBezTo>
                  <a:lnTo>
                    <a:pt x="12" y="16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8" name="Freeform 84">
              <a:extLst>
                <a:ext uri="{FF2B5EF4-FFF2-40B4-BE49-F238E27FC236}">
                  <a16:creationId xmlns:a16="http://schemas.microsoft.com/office/drawing/2014/main" id="{FBA37FB5-8243-4E2C-834E-F11C4DF444A0}"/>
                </a:ext>
              </a:extLst>
            </p:cNvPr>
            <p:cNvSpPr>
              <a:spLocks/>
            </p:cNvSpPr>
            <p:nvPr/>
          </p:nvSpPr>
          <p:spPr bwMode="auto">
            <a:xfrm>
              <a:off x="1552" y="2146"/>
              <a:ext cx="111" cy="18"/>
            </a:xfrm>
            <a:custGeom>
              <a:avLst/>
              <a:gdLst>
                <a:gd name="T0" fmla="*/ 66 w 72"/>
                <a:gd name="T1" fmla="*/ 12 h 12"/>
                <a:gd name="T2" fmla="*/ 6 w 72"/>
                <a:gd name="T3" fmla="*/ 12 h 12"/>
                <a:gd name="T4" fmla="*/ 0 w 72"/>
                <a:gd name="T5" fmla="*/ 6 h 12"/>
                <a:gd name="T6" fmla="*/ 6 w 72"/>
                <a:gd name="T7" fmla="*/ 0 h 12"/>
                <a:gd name="T8" fmla="*/ 66 w 72"/>
                <a:gd name="T9" fmla="*/ 0 h 12"/>
                <a:gd name="T10" fmla="*/ 72 w 72"/>
                <a:gd name="T11" fmla="*/ 6 h 12"/>
                <a:gd name="T12" fmla="*/ 66 w 72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2" h="12">
                  <a:moveTo>
                    <a:pt x="66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2" y="12"/>
                    <a:pt x="0" y="9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66" y="0"/>
                    <a:pt x="66" y="0"/>
                    <a:pt x="66" y="0"/>
                  </a:cubicBezTo>
                  <a:cubicBezTo>
                    <a:pt x="69" y="0"/>
                    <a:pt x="72" y="3"/>
                    <a:pt x="72" y="6"/>
                  </a:cubicBezTo>
                  <a:cubicBezTo>
                    <a:pt x="72" y="9"/>
                    <a:pt x="69" y="12"/>
                    <a:pt x="66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9" name="Freeform 85">
              <a:extLst>
                <a:ext uri="{FF2B5EF4-FFF2-40B4-BE49-F238E27FC236}">
                  <a16:creationId xmlns:a16="http://schemas.microsoft.com/office/drawing/2014/main" id="{1E2CBFC0-DE0B-47A5-84C8-B326FB6B2964}"/>
                </a:ext>
              </a:extLst>
            </p:cNvPr>
            <p:cNvSpPr>
              <a:spLocks/>
            </p:cNvSpPr>
            <p:nvPr/>
          </p:nvSpPr>
          <p:spPr bwMode="auto">
            <a:xfrm>
              <a:off x="1552" y="2182"/>
              <a:ext cx="111" cy="18"/>
            </a:xfrm>
            <a:custGeom>
              <a:avLst/>
              <a:gdLst>
                <a:gd name="T0" fmla="*/ 66 w 72"/>
                <a:gd name="T1" fmla="*/ 12 h 12"/>
                <a:gd name="T2" fmla="*/ 6 w 72"/>
                <a:gd name="T3" fmla="*/ 12 h 12"/>
                <a:gd name="T4" fmla="*/ 0 w 72"/>
                <a:gd name="T5" fmla="*/ 6 h 12"/>
                <a:gd name="T6" fmla="*/ 6 w 72"/>
                <a:gd name="T7" fmla="*/ 0 h 12"/>
                <a:gd name="T8" fmla="*/ 66 w 72"/>
                <a:gd name="T9" fmla="*/ 0 h 12"/>
                <a:gd name="T10" fmla="*/ 72 w 72"/>
                <a:gd name="T11" fmla="*/ 6 h 12"/>
                <a:gd name="T12" fmla="*/ 66 w 72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2" h="12">
                  <a:moveTo>
                    <a:pt x="66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2" y="12"/>
                    <a:pt x="0" y="9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66" y="0"/>
                    <a:pt x="66" y="0"/>
                    <a:pt x="66" y="0"/>
                  </a:cubicBezTo>
                  <a:cubicBezTo>
                    <a:pt x="69" y="0"/>
                    <a:pt x="72" y="3"/>
                    <a:pt x="72" y="6"/>
                  </a:cubicBezTo>
                  <a:cubicBezTo>
                    <a:pt x="72" y="9"/>
                    <a:pt x="69" y="12"/>
                    <a:pt x="66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0" name="Freeform 86">
              <a:extLst>
                <a:ext uri="{FF2B5EF4-FFF2-40B4-BE49-F238E27FC236}">
                  <a16:creationId xmlns:a16="http://schemas.microsoft.com/office/drawing/2014/main" id="{4181A0CD-D39F-468B-9E00-4F730B2EDA80}"/>
                </a:ext>
              </a:extLst>
            </p:cNvPr>
            <p:cNvSpPr>
              <a:spLocks/>
            </p:cNvSpPr>
            <p:nvPr/>
          </p:nvSpPr>
          <p:spPr bwMode="auto">
            <a:xfrm>
              <a:off x="1552" y="2218"/>
              <a:ext cx="111" cy="18"/>
            </a:xfrm>
            <a:custGeom>
              <a:avLst/>
              <a:gdLst>
                <a:gd name="T0" fmla="*/ 66 w 72"/>
                <a:gd name="T1" fmla="*/ 12 h 12"/>
                <a:gd name="T2" fmla="*/ 6 w 72"/>
                <a:gd name="T3" fmla="*/ 12 h 12"/>
                <a:gd name="T4" fmla="*/ 0 w 72"/>
                <a:gd name="T5" fmla="*/ 6 h 12"/>
                <a:gd name="T6" fmla="*/ 6 w 72"/>
                <a:gd name="T7" fmla="*/ 0 h 12"/>
                <a:gd name="T8" fmla="*/ 66 w 72"/>
                <a:gd name="T9" fmla="*/ 0 h 12"/>
                <a:gd name="T10" fmla="*/ 72 w 72"/>
                <a:gd name="T11" fmla="*/ 6 h 12"/>
                <a:gd name="T12" fmla="*/ 66 w 72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2" h="12">
                  <a:moveTo>
                    <a:pt x="66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2" y="12"/>
                    <a:pt x="0" y="9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66" y="0"/>
                    <a:pt x="66" y="0"/>
                    <a:pt x="66" y="0"/>
                  </a:cubicBezTo>
                  <a:cubicBezTo>
                    <a:pt x="69" y="0"/>
                    <a:pt x="72" y="3"/>
                    <a:pt x="72" y="6"/>
                  </a:cubicBezTo>
                  <a:cubicBezTo>
                    <a:pt x="72" y="9"/>
                    <a:pt x="69" y="12"/>
                    <a:pt x="66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1" name="Freeform 87">
              <a:extLst>
                <a:ext uri="{FF2B5EF4-FFF2-40B4-BE49-F238E27FC236}">
                  <a16:creationId xmlns:a16="http://schemas.microsoft.com/office/drawing/2014/main" id="{15C91052-9EA2-4D54-B3F4-CB796E6D1313}"/>
                </a:ext>
              </a:extLst>
            </p:cNvPr>
            <p:cNvSpPr>
              <a:spLocks/>
            </p:cNvSpPr>
            <p:nvPr/>
          </p:nvSpPr>
          <p:spPr bwMode="auto">
            <a:xfrm>
              <a:off x="1552" y="2254"/>
              <a:ext cx="111" cy="18"/>
            </a:xfrm>
            <a:custGeom>
              <a:avLst/>
              <a:gdLst>
                <a:gd name="T0" fmla="*/ 66 w 72"/>
                <a:gd name="T1" fmla="*/ 12 h 12"/>
                <a:gd name="T2" fmla="*/ 6 w 72"/>
                <a:gd name="T3" fmla="*/ 12 h 12"/>
                <a:gd name="T4" fmla="*/ 0 w 72"/>
                <a:gd name="T5" fmla="*/ 6 h 12"/>
                <a:gd name="T6" fmla="*/ 6 w 72"/>
                <a:gd name="T7" fmla="*/ 0 h 12"/>
                <a:gd name="T8" fmla="*/ 66 w 72"/>
                <a:gd name="T9" fmla="*/ 0 h 12"/>
                <a:gd name="T10" fmla="*/ 72 w 72"/>
                <a:gd name="T11" fmla="*/ 6 h 12"/>
                <a:gd name="T12" fmla="*/ 66 w 72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2" h="12">
                  <a:moveTo>
                    <a:pt x="66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2" y="12"/>
                    <a:pt x="0" y="9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66" y="0"/>
                    <a:pt x="66" y="0"/>
                    <a:pt x="66" y="0"/>
                  </a:cubicBezTo>
                  <a:cubicBezTo>
                    <a:pt x="69" y="0"/>
                    <a:pt x="72" y="3"/>
                    <a:pt x="72" y="6"/>
                  </a:cubicBezTo>
                  <a:cubicBezTo>
                    <a:pt x="72" y="9"/>
                    <a:pt x="69" y="12"/>
                    <a:pt x="66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2" name="Freeform 88">
              <a:extLst>
                <a:ext uri="{FF2B5EF4-FFF2-40B4-BE49-F238E27FC236}">
                  <a16:creationId xmlns:a16="http://schemas.microsoft.com/office/drawing/2014/main" id="{E753AB04-76E0-48F9-965F-B4CB3F190D37}"/>
                </a:ext>
              </a:extLst>
            </p:cNvPr>
            <p:cNvSpPr>
              <a:spLocks/>
            </p:cNvSpPr>
            <p:nvPr/>
          </p:nvSpPr>
          <p:spPr bwMode="auto">
            <a:xfrm>
              <a:off x="1782" y="2038"/>
              <a:ext cx="212" cy="90"/>
            </a:xfrm>
            <a:custGeom>
              <a:avLst/>
              <a:gdLst>
                <a:gd name="T0" fmla="*/ 60 w 138"/>
                <a:gd name="T1" fmla="*/ 60 h 60"/>
                <a:gd name="T2" fmla="*/ 0 w 138"/>
                <a:gd name="T3" fmla="*/ 60 h 60"/>
                <a:gd name="T4" fmla="*/ 0 w 138"/>
                <a:gd name="T5" fmla="*/ 48 h 60"/>
                <a:gd name="T6" fmla="*/ 58 w 138"/>
                <a:gd name="T7" fmla="*/ 48 h 60"/>
                <a:gd name="T8" fmla="*/ 112 w 138"/>
                <a:gd name="T9" fmla="*/ 12 h 60"/>
                <a:gd name="T10" fmla="*/ 54 w 138"/>
                <a:gd name="T11" fmla="*/ 12 h 60"/>
                <a:gd name="T12" fmla="*/ 54 w 138"/>
                <a:gd name="T13" fmla="*/ 0 h 60"/>
                <a:gd name="T14" fmla="*/ 132 w 138"/>
                <a:gd name="T15" fmla="*/ 0 h 60"/>
                <a:gd name="T16" fmla="*/ 137 w 138"/>
                <a:gd name="T17" fmla="*/ 4 h 60"/>
                <a:gd name="T18" fmla="*/ 135 w 138"/>
                <a:gd name="T19" fmla="*/ 11 h 60"/>
                <a:gd name="T20" fmla="*/ 63 w 138"/>
                <a:gd name="T21" fmla="*/ 59 h 60"/>
                <a:gd name="T22" fmla="*/ 60 w 138"/>
                <a:gd name="T23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38" h="60">
                  <a:moveTo>
                    <a:pt x="60" y="60"/>
                  </a:moveTo>
                  <a:cubicBezTo>
                    <a:pt x="0" y="60"/>
                    <a:pt x="0" y="60"/>
                    <a:pt x="0" y="60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58" y="48"/>
                    <a:pt x="58" y="48"/>
                    <a:pt x="58" y="48"/>
                  </a:cubicBezTo>
                  <a:cubicBezTo>
                    <a:pt x="112" y="12"/>
                    <a:pt x="112" y="12"/>
                    <a:pt x="112" y="12"/>
                  </a:cubicBezTo>
                  <a:cubicBezTo>
                    <a:pt x="54" y="12"/>
                    <a:pt x="54" y="12"/>
                    <a:pt x="54" y="12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132" y="0"/>
                    <a:pt x="132" y="0"/>
                    <a:pt x="132" y="0"/>
                  </a:cubicBezTo>
                  <a:cubicBezTo>
                    <a:pt x="134" y="0"/>
                    <a:pt x="137" y="2"/>
                    <a:pt x="137" y="4"/>
                  </a:cubicBezTo>
                  <a:cubicBezTo>
                    <a:pt x="138" y="7"/>
                    <a:pt x="137" y="10"/>
                    <a:pt x="135" y="11"/>
                  </a:cubicBezTo>
                  <a:cubicBezTo>
                    <a:pt x="63" y="59"/>
                    <a:pt x="63" y="59"/>
                    <a:pt x="63" y="59"/>
                  </a:cubicBezTo>
                  <a:cubicBezTo>
                    <a:pt x="62" y="60"/>
                    <a:pt x="61" y="60"/>
                    <a:pt x="60" y="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3" name="Freeform 89">
              <a:extLst>
                <a:ext uri="{FF2B5EF4-FFF2-40B4-BE49-F238E27FC236}">
                  <a16:creationId xmlns:a16="http://schemas.microsoft.com/office/drawing/2014/main" id="{6AA1305C-E2BA-41C7-8FE8-4CD629529887}"/>
                </a:ext>
              </a:extLst>
            </p:cNvPr>
            <p:cNvSpPr>
              <a:spLocks/>
            </p:cNvSpPr>
            <p:nvPr/>
          </p:nvSpPr>
          <p:spPr bwMode="auto">
            <a:xfrm>
              <a:off x="1551" y="2038"/>
              <a:ext cx="185" cy="90"/>
            </a:xfrm>
            <a:custGeom>
              <a:avLst/>
              <a:gdLst>
                <a:gd name="T0" fmla="*/ 67 w 121"/>
                <a:gd name="T1" fmla="*/ 60 h 60"/>
                <a:gd name="T2" fmla="*/ 7 w 121"/>
                <a:gd name="T3" fmla="*/ 60 h 60"/>
                <a:gd name="T4" fmla="*/ 1 w 121"/>
                <a:gd name="T5" fmla="*/ 56 h 60"/>
                <a:gd name="T6" fmla="*/ 3 w 121"/>
                <a:gd name="T7" fmla="*/ 49 h 60"/>
                <a:gd name="T8" fmla="*/ 75 w 121"/>
                <a:gd name="T9" fmla="*/ 1 h 60"/>
                <a:gd name="T10" fmla="*/ 79 w 121"/>
                <a:gd name="T11" fmla="*/ 0 h 60"/>
                <a:gd name="T12" fmla="*/ 121 w 121"/>
                <a:gd name="T13" fmla="*/ 0 h 60"/>
                <a:gd name="T14" fmla="*/ 121 w 121"/>
                <a:gd name="T15" fmla="*/ 12 h 60"/>
                <a:gd name="T16" fmla="*/ 80 w 121"/>
                <a:gd name="T17" fmla="*/ 12 h 60"/>
                <a:gd name="T18" fmla="*/ 26 w 121"/>
                <a:gd name="T19" fmla="*/ 48 h 60"/>
                <a:gd name="T20" fmla="*/ 67 w 121"/>
                <a:gd name="T21" fmla="*/ 48 h 60"/>
                <a:gd name="T22" fmla="*/ 67 w 121"/>
                <a:gd name="T23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21" h="60">
                  <a:moveTo>
                    <a:pt x="67" y="60"/>
                  </a:moveTo>
                  <a:cubicBezTo>
                    <a:pt x="7" y="60"/>
                    <a:pt x="7" y="60"/>
                    <a:pt x="7" y="60"/>
                  </a:cubicBezTo>
                  <a:cubicBezTo>
                    <a:pt x="4" y="60"/>
                    <a:pt x="2" y="58"/>
                    <a:pt x="1" y="56"/>
                  </a:cubicBezTo>
                  <a:cubicBezTo>
                    <a:pt x="0" y="53"/>
                    <a:pt x="1" y="51"/>
                    <a:pt x="3" y="49"/>
                  </a:cubicBezTo>
                  <a:cubicBezTo>
                    <a:pt x="75" y="1"/>
                    <a:pt x="75" y="1"/>
                    <a:pt x="75" y="1"/>
                  </a:cubicBezTo>
                  <a:cubicBezTo>
                    <a:pt x="76" y="0"/>
                    <a:pt x="77" y="0"/>
                    <a:pt x="79" y="0"/>
                  </a:cubicBezTo>
                  <a:cubicBezTo>
                    <a:pt x="121" y="0"/>
                    <a:pt x="121" y="0"/>
                    <a:pt x="121" y="0"/>
                  </a:cubicBezTo>
                  <a:cubicBezTo>
                    <a:pt x="121" y="12"/>
                    <a:pt x="121" y="12"/>
                    <a:pt x="121" y="12"/>
                  </a:cubicBezTo>
                  <a:cubicBezTo>
                    <a:pt x="80" y="12"/>
                    <a:pt x="80" y="12"/>
                    <a:pt x="80" y="12"/>
                  </a:cubicBezTo>
                  <a:cubicBezTo>
                    <a:pt x="26" y="48"/>
                    <a:pt x="26" y="48"/>
                    <a:pt x="26" y="48"/>
                  </a:cubicBezTo>
                  <a:cubicBezTo>
                    <a:pt x="67" y="48"/>
                    <a:pt x="67" y="48"/>
                    <a:pt x="67" y="48"/>
                  </a:cubicBezTo>
                  <a:lnTo>
                    <a:pt x="67" y="6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4" name="Freeform 90">
              <a:extLst>
                <a:ext uri="{FF2B5EF4-FFF2-40B4-BE49-F238E27FC236}">
                  <a16:creationId xmlns:a16="http://schemas.microsoft.com/office/drawing/2014/main" id="{BA46518C-B674-4451-84F1-35CB780DEF1B}"/>
                </a:ext>
              </a:extLst>
            </p:cNvPr>
            <p:cNvSpPr>
              <a:spLocks/>
            </p:cNvSpPr>
            <p:nvPr/>
          </p:nvSpPr>
          <p:spPr bwMode="auto">
            <a:xfrm>
              <a:off x="1709" y="2227"/>
              <a:ext cx="18" cy="36"/>
            </a:xfrm>
            <a:custGeom>
              <a:avLst/>
              <a:gdLst>
                <a:gd name="T0" fmla="*/ 6 w 12"/>
                <a:gd name="T1" fmla="*/ 24 h 24"/>
                <a:gd name="T2" fmla="*/ 0 w 12"/>
                <a:gd name="T3" fmla="*/ 18 h 24"/>
                <a:gd name="T4" fmla="*/ 0 w 12"/>
                <a:gd name="T5" fmla="*/ 6 h 24"/>
                <a:gd name="T6" fmla="*/ 6 w 12"/>
                <a:gd name="T7" fmla="*/ 0 h 24"/>
                <a:gd name="T8" fmla="*/ 12 w 12"/>
                <a:gd name="T9" fmla="*/ 6 h 24"/>
                <a:gd name="T10" fmla="*/ 12 w 12"/>
                <a:gd name="T11" fmla="*/ 18 h 24"/>
                <a:gd name="T12" fmla="*/ 6 w 12"/>
                <a:gd name="T13" fmla="*/ 24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24">
                  <a:moveTo>
                    <a:pt x="6" y="24"/>
                  </a:moveTo>
                  <a:cubicBezTo>
                    <a:pt x="2" y="24"/>
                    <a:pt x="0" y="21"/>
                    <a:pt x="0" y="18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18"/>
                    <a:pt x="12" y="18"/>
                    <a:pt x="12" y="18"/>
                  </a:cubicBezTo>
                  <a:cubicBezTo>
                    <a:pt x="12" y="21"/>
                    <a:pt x="9" y="24"/>
                    <a:pt x="6" y="2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5" name="Freeform 91">
              <a:extLst>
                <a:ext uri="{FF2B5EF4-FFF2-40B4-BE49-F238E27FC236}">
                  <a16:creationId xmlns:a16="http://schemas.microsoft.com/office/drawing/2014/main" id="{0BDB2997-4087-4C91-B469-9DF0D251E0F9}"/>
                </a:ext>
              </a:extLst>
            </p:cNvPr>
            <p:cNvSpPr>
              <a:spLocks/>
            </p:cNvSpPr>
            <p:nvPr/>
          </p:nvSpPr>
          <p:spPr bwMode="auto">
            <a:xfrm>
              <a:off x="1709" y="2101"/>
              <a:ext cx="18" cy="36"/>
            </a:xfrm>
            <a:custGeom>
              <a:avLst/>
              <a:gdLst>
                <a:gd name="T0" fmla="*/ 6 w 12"/>
                <a:gd name="T1" fmla="*/ 24 h 24"/>
                <a:gd name="T2" fmla="*/ 0 w 12"/>
                <a:gd name="T3" fmla="*/ 18 h 24"/>
                <a:gd name="T4" fmla="*/ 0 w 12"/>
                <a:gd name="T5" fmla="*/ 6 h 24"/>
                <a:gd name="T6" fmla="*/ 6 w 12"/>
                <a:gd name="T7" fmla="*/ 0 h 24"/>
                <a:gd name="T8" fmla="*/ 12 w 12"/>
                <a:gd name="T9" fmla="*/ 6 h 24"/>
                <a:gd name="T10" fmla="*/ 12 w 12"/>
                <a:gd name="T11" fmla="*/ 18 h 24"/>
                <a:gd name="T12" fmla="*/ 6 w 12"/>
                <a:gd name="T13" fmla="*/ 24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24">
                  <a:moveTo>
                    <a:pt x="6" y="24"/>
                  </a:moveTo>
                  <a:cubicBezTo>
                    <a:pt x="2" y="24"/>
                    <a:pt x="0" y="21"/>
                    <a:pt x="0" y="18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18"/>
                    <a:pt x="12" y="18"/>
                    <a:pt x="12" y="18"/>
                  </a:cubicBezTo>
                  <a:cubicBezTo>
                    <a:pt x="12" y="21"/>
                    <a:pt x="9" y="24"/>
                    <a:pt x="6" y="2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6" name="Freeform 92">
              <a:extLst>
                <a:ext uri="{FF2B5EF4-FFF2-40B4-BE49-F238E27FC236}">
                  <a16:creationId xmlns:a16="http://schemas.microsoft.com/office/drawing/2014/main" id="{43621B62-8033-41AD-8444-05909F4990B5}"/>
                </a:ext>
              </a:extLst>
            </p:cNvPr>
            <p:cNvSpPr>
              <a:spLocks/>
            </p:cNvSpPr>
            <p:nvPr/>
          </p:nvSpPr>
          <p:spPr bwMode="auto">
            <a:xfrm>
              <a:off x="1681" y="2119"/>
              <a:ext cx="74" cy="126"/>
            </a:xfrm>
            <a:custGeom>
              <a:avLst/>
              <a:gdLst>
                <a:gd name="T0" fmla="*/ 24 w 48"/>
                <a:gd name="T1" fmla="*/ 84 h 84"/>
                <a:gd name="T2" fmla="*/ 0 w 48"/>
                <a:gd name="T3" fmla="*/ 60 h 84"/>
                <a:gd name="T4" fmla="*/ 6 w 48"/>
                <a:gd name="T5" fmla="*/ 54 h 84"/>
                <a:gd name="T6" fmla="*/ 12 w 48"/>
                <a:gd name="T7" fmla="*/ 60 h 84"/>
                <a:gd name="T8" fmla="*/ 24 w 48"/>
                <a:gd name="T9" fmla="*/ 72 h 84"/>
                <a:gd name="T10" fmla="*/ 36 w 48"/>
                <a:gd name="T11" fmla="*/ 60 h 84"/>
                <a:gd name="T12" fmla="*/ 24 w 48"/>
                <a:gd name="T13" fmla="*/ 48 h 84"/>
                <a:gd name="T14" fmla="*/ 0 w 48"/>
                <a:gd name="T15" fmla="*/ 24 h 84"/>
                <a:gd name="T16" fmla="*/ 24 w 48"/>
                <a:gd name="T17" fmla="*/ 0 h 84"/>
                <a:gd name="T18" fmla="*/ 48 w 48"/>
                <a:gd name="T19" fmla="*/ 24 h 84"/>
                <a:gd name="T20" fmla="*/ 42 w 48"/>
                <a:gd name="T21" fmla="*/ 30 h 84"/>
                <a:gd name="T22" fmla="*/ 36 w 48"/>
                <a:gd name="T23" fmla="*/ 24 h 84"/>
                <a:gd name="T24" fmla="*/ 24 w 48"/>
                <a:gd name="T25" fmla="*/ 12 h 84"/>
                <a:gd name="T26" fmla="*/ 12 w 48"/>
                <a:gd name="T27" fmla="*/ 24 h 84"/>
                <a:gd name="T28" fmla="*/ 24 w 48"/>
                <a:gd name="T29" fmla="*/ 36 h 84"/>
                <a:gd name="T30" fmla="*/ 48 w 48"/>
                <a:gd name="T31" fmla="*/ 60 h 84"/>
                <a:gd name="T32" fmla="*/ 24 w 48"/>
                <a:gd name="T33" fmla="*/ 84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8" h="84">
                  <a:moveTo>
                    <a:pt x="24" y="84"/>
                  </a:moveTo>
                  <a:cubicBezTo>
                    <a:pt x="10" y="84"/>
                    <a:pt x="0" y="73"/>
                    <a:pt x="0" y="60"/>
                  </a:cubicBezTo>
                  <a:cubicBezTo>
                    <a:pt x="0" y="57"/>
                    <a:pt x="2" y="54"/>
                    <a:pt x="6" y="54"/>
                  </a:cubicBezTo>
                  <a:cubicBezTo>
                    <a:pt x="9" y="54"/>
                    <a:pt x="12" y="57"/>
                    <a:pt x="12" y="60"/>
                  </a:cubicBezTo>
                  <a:cubicBezTo>
                    <a:pt x="12" y="67"/>
                    <a:pt x="17" y="72"/>
                    <a:pt x="24" y="72"/>
                  </a:cubicBezTo>
                  <a:cubicBezTo>
                    <a:pt x="30" y="72"/>
                    <a:pt x="36" y="67"/>
                    <a:pt x="36" y="60"/>
                  </a:cubicBezTo>
                  <a:cubicBezTo>
                    <a:pt x="36" y="53"/>
                    <a:pt x="30" y="48"/>
                    <a:pt x="24" y="48"/>
                  </a:cubicBezTo>
                  <a:cubicBezTo>
                    <a:pt x="10" y="48"/>
                    <a:pt x="0" y="37"/>
                    <a:pt x="0" y="24"/>
                  </a:cubicBezTo>
                  <a:cubicBezTo>
                    <a:pt x="0" y="11"/>
                    <a:pt x="10" y="0"/>
                    <a:pt x="24" y="0"/>
                  </a:cubicBezTo>
                  <a:cubicBezTo>
                    <a:pt x="37" y="0"/>
                    <a:pt x="48" y="11"/>
                    <a:pt x="48" y="24"/>
                  </a:cubicBezTo>
                  <a:cubicBezTo>
                    <a:pt x="48" y="27"/>
                    <a:pt x="45" y="30"/>
                    <a:pt x="42" y="30"/>
                  </a:cubicBezTo>
                  <a:cubicBezTo>
                    <a:pt x="38" y="30"/>
                    <a:pt x="36" y="27"/>
                    <a:pt x="36" y="24"/>
                  </a:cubicBezTo>
                  <a:cubicBezTo>
                    <a:pt x="36" y="17"/>
                    <a:pt x="30" y="12"/>
                    <a:pt x="24" y="12"/>
                  </a:cubicBezTo>
                  <a:cubicBezTo>
                    <a:pt x="17" y="12"/>
                    <a:pt x="12" y="17"/>
                    <a:pt x="12" y="24"/>
                  </a:cubicBezTo>
                  <a:cubicBezTo>
                    <a:pt x="12" y="31"/>
                    <a:pt x="17" y="36"/>
                    <a:pt x="24" y="36"/>
                  </a:cubicBezTo>
                  <a:cubicBezTo>
                    <a:pt x="37" y="36"/>
                    <a:pt x="48" y="47"/>
                    <a:pt x="48" y="60"/>
                  </a:cubicBezTo>
                  <a:cubicBezTo>
                    <a:pt x="48" y="73"/>
                    <a:pt x="37" y="84"/>
                    <a:pt x="24" y="8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47" name="Group 184">
            <a:extLst>
              <a:ext uri="{FF2B5EF4-FFF2-40B4-BE49-F238E27FC236}">
                <a16:creationId xmlns:a16="http://schemas.microsoft.com/office/drawing/2014/main" id="{20056A63-C0E5-44B9-8714-64471EA90BD6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6893396" y="2091426"/>
            <a:ext cx="637834" cy="493200"/>
            <a:chOff x="2585" y="3263"/>
            <a:chExt cx="441" cy="341"/>
          </a:xfrm>
          <a:solidFill>
            <a:schemeClr val="bg1"/>
          </a:solidFill>
        </p:grpSpPr>
        <p:sp>
          <p:nvSpPr>
            <p:cNvPr id="48" name="Freeform 185">
              <a:extLst>
                <a:ext uri="{FF2B5EF4-FFF2-40B4-BE49-F238E27FC236}">
                  <a16:creationId xmlns:a16="http://schemas.microsoft.com/office/drawing/2014/main" id="{1FF9C5FF-8EB8-4136-B777-58A01F8FBC17}"/>
                </a:ext>
              </a:extLst>
            </p:cNvPr>
            <p:cNvSpPr>
              <a:spLocks/>
            </p:cNvSpPr>
            <p:nvPr/>
          </p:nvSpPr>
          <p:spPr bwMode="auto">
            <a:xfrm>
              <a:off x="2585" y="3317"/>
              <a:ext cx="248" cy="287"/>
            </a:xfrm>
            <a:custGeom>
              <a:avLst/>
              <a:gdLst>
                <a:gd name="T0" fmla="*/ 156 w 162"/>
                <a:gd name="T1" fmla="*/ 192 h 192"/>
                <a:gd name="T2" fmla="*/ 66 w 162"/>
                <a:gd name="T3" fmla="*/ 192 h 192"/>
                <a:gd name="T4" fmla="*/ 0 w 162"/>
                <a:gd name="T5" fmla="*/ 126 h 192"/>
                <a:gd name="T6" fmla="*/ 0 w 162"/>
                <a:gd name="T7" fmla="*/ 86 h 192"/>
                <a:gd name="T8" fmla="*/ 78 w 162"/>
                <a:gd name="T9" fmla="*/ 0 h 192"/>
                <a:gd name="T10" fmla="*/ 114 w 162"/>
                <a:gd name="T11" fmla="*/ 0 h 192"/>
                <a:gd name="T12" fmla="*/ 144 w 162"/>
                <a:gd name="T13" fmla="*/ 24 h 192"/>
                <a:gd name="T14" fmla="*/ 144 w 162"/>
                <a:gd name="T15" fmla="*/ 30 h 192"/>
                <a:gd name="T16" fmla="*/ 114 w 162"/>
                <a:gd name="T17" fmla="*/ 54 h 192"/>
                <a:gd name="T18" fmla="*/ 95 w 162"/>
                <a:gd name="T19" fmla="*/ 54 h 192"/>
                <a:gd name="T20" fmla="*/ 54 w 162"/>
                <a:gd name="T21" fmla="*/ 96 h 192"/>
                <a:gd name="T22" fmla="*/ 48 w 162"/>
                <a:gd name="T23" fmla="*/ 90 h 192"/>
                <a:gd name="T24" fmla="*/ 54 w 162"/>
                <a:gd name="T25" fmla="*/ 84 h 192"/>
                <a:gd name="T26" fmla="*/ 84 w 162"/>
                <a:gd name="T27" fmla="*/ 47 h 192"/>
                <a:gd name="T28" fmla="*/ 90 w 162"/>
                <a:gd name="T29" fmla="*/ 42 h 192"/>
                <a:gd name="T30" fmla="*/ 114 w 162"/>
                <a:gd name="T31" fmla="*/ 42 h 192"/>
                <a:gd name="T32" fmla="*/ 132 w 162"/>
                <a:gd name="T33" fmla="*/ 30 h 192"/>
                <a:gd name="T34" fmla="*/ 132 w 162"/>
                <a:gd name="T35" fmla="*/ 24 h 192"/>
                <a:gd name="T36" fmla="*/ 114 w 162"/>
                <a:gd name="T37" fmla="*/ 12 h 192"/>
                <a:gd name="T38" fmla="*/ 78 w 162"/>
                <a:gd name="T39" fmla="*/ 12 h 192"/>
                <a:gd name="T40" fmla="*/ 12 w 162"/>
                <a:gd name="T41" fmla="*/ 86 h 192"/>
                <a:gd name="T42" fmla="*/ 12 w 162"/>
                <a:gd name="T43" fmla="*/ 126 h 192"/>
                <a:gd name="T44" fmla="*/ 66 w 162"/>
                <a:gd name="T45" fmla="*/ 180 h 192"/>
                <a:gd name="T46" fmla="*/ 156 w 162"/>
                <a:gd name="T47" fmla="*/ 180 h 192"/>
                <a:gd name="T48" fmla="*/ 162 w 162"/>
                <a:gd name="T49" fmla="*/ 186 h 192"/>
                <a:gd name="T50" fmla="*/ 156 w 162"/>
                <a:gd name="T51" fmla="*/ 192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62" h="192">
                  <a:moveTo>
                    <a:pt x="156" y="192"/>
                  </a:moveTo>
                  <a:cubicBezTo>
                    <a:pt x="66" y="192"/>
                    <a:pt x="66" y="192"/>
                    <a:pt x="66" y="192"/>
                  </a:cubicBezTo>
                  <a:cubicBezTo>
                    <a:pt x="30" y="192"/>
                    <a:pt x="0" y="163"/>
                    <a:pt x="0" y="126"/>
                  </a:cubicBezTo>
                  <a:cubicBezTo>
                    <a:pt x="0" y="86"/>
                    <a:pt x="0" y="86"/>
                    <a:pt x="0" y="86"/>
                  </a:cubicBezTo>
                  <a:cubicBezTo>
                    <a:pt x="0" y="4"/>
                    <a:pt x="65" y="0"/>
                    <a:pt x="78" y="0"/>
                  </a:cubicBezTo>
                  <a:cubicBezTo>
                    <a:pt x="114" y="0"/>
                    <a:pt x="114" y="0"/>
                    <a:pt x="114" y="0"/>
                  </a:cubicBezTo>
                  <a:cubicBezTo>
                    <a:pt x="129" y="0"/>
                    <a:pt x="144" y="8"/>
                    <a:pt x="144" y="24"/>
                  </a:cubicBezTo>
                  <a:cubicBezTo>
                    <a:pt x="144" y="30"/>
                    <a:pt x="144" y="30"/>
                    <a:pt x="144" y="30"/>
                  </a:cubicBezTo>
                  <a:cubicBezTo>
                    <a:pt x="144" y="46"/>
                    <a:pt x="129" y="54"/>
                    <a:pt x="114" y="54"/>
                  </a:cubicBezTo>
                  <a:cubicBezTo>
                    <a:pt x="95" y="54"/>
                    <a:pt x="95" y="54"/>
                    <a:pt x="95" y="54"/>
                  </a:cubicBezTo>
                  <a:cubicBezTo>
                    <a:pt x="91" y="66"/>
                    <a:pt x="78" y="96"/>
                    <a:pt x="54" y="96"/>
                  </a:cubicBezTo>
                  <a:cubicBezTo>
                    <a:pt x="51" y="96"/>
                    <a:pt x="48" y="94"/>
                    <a:pt x="48" y="90"/>
                  </a:cubicBezTo>
                  <a:cubicBezTo>
                    <a:pt x="48" y="87"/>
                    <a:pt x="51" y="84"/>
                    <a:pt x="54" y="84"/>
                  </a:cubicBezTo>
                  <a:cubicBezTo>
                    <a:pt x="70" y="84"/>
                    <a:pt x="81" y="57"/>
                    <a:pt x="84" y="47"/>
                  </a:cubicBezTo>
                  <a:cubicBezTo>
                    <a:pt x="85" y="44"/>
                    <a:pt x="88" y="42"/>
                    <a:pt x="90" y="42"/>
                  </a:cubicBezTo>
                  <a:cubicBezTo>
                    <a:pt x="114" y="42"/>
                    <a:pt x="114" y="42"/>
                    <a:pt x="114" y="42"/>
                  </a:cubicBezTo>
                  <a:cubicBezTo>
                    <a:pt x="120" y="42"/>
                    <a:pt x="132" y="40"/>
                    <a:pt x="132" y="30"/>
                  </a:cubicBezTo>
                  <a:cubicBezTo>
                    <a:pt x="132" y="24"/>
                    <a:pt x="132" y="24"/>
                    <a:pt x="132" y="24"/>
                  </a:cubicBezTo>
                  <a:cubicBezTo>
                    <a:pt x="132" y="15"/>
                    <a:pt x="121" y="12"/>
                    <a:pt x="114" y="12"/>
                  </a:cubicBezTo>
                  <a:cubicBezTo>
                    <a:pt x="78" y="12"/>
                    <a:pt x="78" y="12"/>
                    <a:pt x="78" y="12"/>
                  </a:cubicBezTo>
                  <a:cubicBezTo>
                    <a:pt x="63" y="12"/>
                    <a:pt x="12" y="18"/>
                    <a:pt x="12" y="86"/>
                  </a:cubicBezTo>
                  <a:cubicBezTo>
                    <a:pt x="12" y="126"/>
                    <a:pt x="12" y="126"/>
                    <a:pt x="12" y="126"/>
                  </a:cubicBezTo>
                  <a:cubicBezTo>
                    <a:pt x="12" y="156"/>
                    <a:pt x="36" y="180"/>
                    <a:pt x="66" y="180"/>
                  </a:cubicBezTo>
                  <a:cubicBezTo>
                    <a:pt x="156" y="180"/>
                    <a:pt x="156" y="180"/>
                    <a:pt x="156" y="180"/>
                  </a:cubicBezTo>
                  <a:cubicBezTo>
                    <a:pt x="160" y="180"/>
                    <a:pt x="162" y="183"/>
                    <a:pt x="162" y="186"/>
                  </a:cubicBezTo>
                  <a:cubicBezTo>
                    <a:pt x="162" y="190"/>
                    <a:pt x="160" y="192"/>
                    <a:pt x="156" y="19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9" name="Freeform 186">
              <a:extLst>
                <a:ext uri="{FF2B5EF4-FFF2-40B4-BE49-F238E27FC236}">
                  <a16:creationId xmlns:a16="http://schemas.microsoft.com/office/drawing/2014/main" id="{0E0E896C-EADC-453D-8E6A-84A203169D66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9" y="3478"/>
              <a:ext cx="165" cy="72"/>
            </a:xfrm>
            <a:custGeom>
              <a:avLst/>
              <a:gdLst>
                <a:gd name="T0" fmla="*/ 84 w 108"/>
                <a:gd name="T1" fmla="*/ 48 h 48"/>
                <a:gd name="T2" fmla="*/ 36 w 108"/>
                <a:gd name="T3" fmla="*/ 48 h 48"/>
                <a:gd name="T4" fmla="*/ 30 w 108"/>
                <a:gd name="T5" fmla="*/ 42 h 48"/>
                <a:gd name="T6" fmla="*/ 36 w 108"/>
                <a:gd name="T7" fmla="*/ 36 h 48"/>
                <a:gd name="T8" fmla="*/ 84 w 108"/>
                <a:gd name="T9" fmla="*/ 36 h 48"/>
                <a:gd name="T10" fmla="*/ 96 w 108"/>
                <a:gd name="T11" fmla="*/ 24 h 48"/>
                <a:gd name="T12" fmla="*/ 84 w 108"/>
                <a:gd name="T13" fmla="*/ 12 h 48"/>
                <a:gd name="T14" fmla="*/ 6 w 108"/>
                <a:gd name="T15" fmla="*/ 12 h 48"/>
                <a:gd name="T16" fmla="*/ 0 w 108"/>
                <a:gd name="T17" fmla="*/ 6 h 48"/>
                <a:gd name="T18" fmla="*/ 6 w 108"/>
                <a:gd name="T19" fmla="*/ 0 h 48"/>
                <a:gd name="T20" fmla="*/ 84 w 108"/>
                <a:gd name="T21" fmla="*/ 0 h 48"/>
                <a:gd name="T22" fmla="*/ 108 w 108"/>
                <a:gd name="T23" fmla="*/ 24 h 48"/>
                <a:gd name="T24" fmla="*/ 84 w 108"/>
                <a:gd name="T25" fmla="*/ 48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08" h="48">
                  <a:moveTo>
                    <a:pt x="84" y="48"/>
                  </a:moveTo>
                  <a:cubicBezTo>
                    <a:pt x="36" y="48"/>
                    <a:pt x="36" y="48"/>
                    <a:pt x="36" y="48"/>
                  </a:cubicBezTo>
                  <a:cubicBezTo>
                    <a:pt x="33" y="48"/>
                    <a:pt x="30" y="46"/>
                    <a:pt x="30" y="42"/>
                  </a:cubicBezTo>
                  <a:cubicBezTo>
                    <a:pt x="30" y="39"/>
                    <a:pt x="33" y="36"/>
                    <a:pt x="36" y="36"/>
                  </a:cubicBezTo>
                  <a:cubicBezTo>
                    <a:pt x="84" y="36"/>
                    <a:pt x="84" y="36"/>
                    <a:pt x="84" y="36"/>
                  </a:cubicBezTo>
                  <a:cubicBezTo>
                    <a:pt x="91" y="36"/>
                    <a:pt x="96" y="31"/>
                    <a:pt x="96" y="24"/>
                  </a:cubicBezTo>
                  <a:cubicBezTo>
                    <a:pt x="96" y="18"/>
                    <a:pt x="91" y="12"/>
                    <a:pt x="84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10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84" y="0"/>
                    <a:pt x="84" y="0"/>
                    <a:pt x="84" y="0"/>
                  </a:cubicBezTo>
                  <a:cubicBezTo>
                    <a:pt x="97" y="0"/>
                    <a:pt x="108" y="11"/>
                    <a:pt x="108" y="24"/>
                  </a:cubicBezTo>
                  <a:cubicBezTo>
                    <a:pt x="108" y="37"/>
                    <a:pt x="97" y="48"/>
                    <a:pt x="84" y="4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0" name="Freeform 187">
              <a:extLst>
                <a:ext uri="{FF2B5EF4-FFF2-40B4-BE49-F238E27FC236}">
                  <a16:creationId xmlns:a16="http://schemas.microsoft.com/office/drawing/2014/main" id="{54D4096E-9FB6-4F27-A74D-F4AA5CAEE68A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9" y="3532"/>
              <a:ext cx="92" cy="72"/>
            </a:xfrm>
            <a:custGeom>
              <a:avLst/>
              <a:gdLst>
                <a:gd name="T0" fmla="*/ 36 w 60"/>
                <a:gd name="T1" fmla="*/ 48 h 48"/>
                <a:gd name="T2" fmla="*/ 18 w 60"/>
                <a:gd name="T3" fmla="*/ 48 h 48"/>
                <a:gd name="T4" fmla="*/ 12 w 60"/>
                <a:gd name="T5" fmla="*/ 42 h 48"/>
                <a:gd name="T6" fmla="*/ 18 w 60"/>
                <a:gd name="T7" fmla="*/ 36 h 48"/>
                <a:gd name="T8" fmla="*/ 36 w 60"/>
                <a:gd name="T9" fmla="*/ 36 h 48"/>
                <a:gd name="T10" fmla="*/ 48 w 60"/>
                <a:gd name="T11" fmla="*/ 24 h 48"/>
                <a:gd name="T12" fmla="*/ 36 w 60"/>
                <a:gd name="T13" fmla="*/ 12 h 48"/>
                <a:gd name="T14" fmla="*/ 6 w 60"/>
                <a:gd name="T15" fmla="*/ 12 h 48"/>
                <a:gd name="T16" fmla="*/ 0 w 60"/>
                <a:gd name="T17" fmla="*/ 6 h 48"/>
                <a:gd name="T18" fmla="*/ 6 w 60"/>
                <a:gd name="T19" fmla="*/ 0 h 48"/>
                <a:gd name="T20" fmla="*/ 36 w 60"/>
                <a:gd name="T21" fmla="*/ 0 h 48"/>
                <a:gd name="T22" fmla="*/ 60 w 60"/>
                <a:gd name="T23" fmla="*/ 24 h 48"/>
                <a:gd name="T24" fmla="*/ 36 w 60"/>
                <a:gd name="T25" fmla="*/ 48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0" h="48">
                  <a:moveTo>
                    <a:pt x="36" y="48"/>
                  </a:moveTo>
                  <a:cubicBezTo>
                    <a:pt x="18" y="48"/>
                    <a:pt x="18" y="48"/>
                    <a:pt x="18" y="48"/>
                  </a:cubicBezTo>
                  <a:cubicBezTo>
                    <a:pt x="15" y="48"/>
                    <a:pt x="12" y="46"/>
                    <a:pt x="12" y="42"/>
                  </a:cubicBezTo>
                  <a:cubicBezTo>
                    <a:pt x="12" y="39"/>
                    <a:pt x="15" y="36"/>
                    <a:pt x="18" y="36"/>
                  </a:cubicBezTo>
                  <a:cubicBezTo>
                    <a:pt x="36" y="36"/>
                    <a:pt x="36" y="36"/>
                    <a:pt x="36" y="36"/>
                  </a:cubicBezTo>
                  <a:cubicBezTo>
                    <a:pt x="43" y="36"/>
                    <a:pt x="48" y="31"/>
                    <a:pt x="48" y="24"/>
                  </a:cubicBezTo>
                  <a:cubicBezTo>
                    <a:pt x="48" y="18"/>
                    <a:pt x="43" y="12"/>
                    <a:pt x="36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10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36" y="0"/>
                    <a:pt x="36" y="0"/>
                    <a:pt x="36" y="0"/>
                  </a:cubicBezTo>
                  <a:cubicBezTo>
                    <a:pt x="49" y="0"/>
                    <a:pt x="60" y="11"/>
                    <a:pt x="60" y="24"/>
                  </a:cubicBezTo>
                  <a:cubicBezTo>
                    <a:pt x="60" y="37"/>
                    <a:pt x="49" y="48"/>
                    <a:pt x="36" y="4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1" name="Freeform 188">
              <a:extLst>
                <a:ext uri="{FF2B5EF4-FFF2-40B4-BE49-F238E27FC236}">
                  <a16:creationId xmlns:a16="http://schemas.microsoft.com/office/drawing/2014/main" id="{B6CA49AD-97C1-4A62-B731-7C7BA0E3F552}"/>
                </a:ext>
              </a:extLst>
            </p:cNvPr>
            <p:cNvSpPr>
              <a:spLocks/>
            </p:cNvSpPr>
            <p:nvPr/>
          </p:nvSpPr>
          <p:spPr bwMode="auto">
            <a:xfrm>
              <a:off x="2786" y="3335"/>
              <a:ext cx="240" cy="18"/>
            </a:xfrm>
            <a:custGeom>
              <a:avLst/>
              <a:gdLst>
                <a:gd name="T0" fmla="*/ 151 w 157"/>
                <a:gd name="T1" fmla="*/ 12 h 12"/>
                <a:gd name="T2" fmla="*/ 6 w 157"/>
                <a:gd name="T3" fmla="*/ 12 h 12"/>
                <a:gd name="T4" fmla="*/ 0 w 157"/>
                <a:gd name="T5" fmla="*/ 6 h 12"/>
                <a:gd name="T6" fmla="*/ 6 w 157"/>
                <a:gd name="T7" fmla="*/ 0 h 12"/>
                <a:gd name="T8" fmla="*/ 151 w 157"/>
                <a:gd name="T9" fmla="*/ 0 h 12"/>
                <a:gd name="T10" fmla="*/ 157 w 157"/>
                <a:gd name="T11" fmla="*/ 6 h 12"/>
                <a:gd name="T12" fmla="*/ 151 w 157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7" h="12">
                  <a:moveTo>
                    <a:pt x="151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10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151" y="0"/>
                    <a:pt x="151" y="0"/>
                    <a:pt x="151" y="0"/>
                  </a:cubicBezTo>
                  <a:cubicBezTo>
                    <a:pt x="155" y="0"/>
                    <a:pt x="157" y="3"/>
                    <a:pt x="157" y="6"/>
                  </a:cubicBezTo>
                  <a:cubicBezTo>
                    <a:pt x="157" y="10"/>
                    <a:pt x="155" y="12"/>
                    <a:pt x="151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2" name="Freeform 189">
              <a:extLst>
                <a:ext uri="{FF2B5EF4-FFF2-40B4-BE49-F238E27FC236}">
                  <a16:creationId xmlns:a16="http://schemas.microsoft.com/office/drawing/2014/main" id="{B9B90403-33F3-4B19-BC9C-1EDD3B20F954}"/>
                </a:ext>
              </a:extLst>
            </p:cNvPr>
            <p:cNvSpPr>
              <a:spLocks/>
            </p:cNvSpPr>
            <p:nvPr/>
          </p:nvSpPr>
          <p:spPr bwMode="auto">
            <a:xfrm>
              <a:off x="2677" y="3263"/>
              <a:ext cx="349" cy="233"/>
            </a:xfrm>
            <a:custGeom>
              <a:avLst/>
              <a:gdLst>
                <a:gd name="T0" fmla="*/ 204 w 228"/>
                <a:gd name="T1" fmla="*/ 156 h 156"/>
                <a:gd name="T2" fmla="*/ 24 w 228"/>
                <a:gd name="T3" fmla="*/ 156 h 156"/>
                <a:gd name="T4" fmla="*/ 0 w 228"/>
                <a:gd name="T5" fmla="*/ 132 h 156"/>
                <a:gd name="T6" fmla="*/ 0 w 228"/>
                <a:gd name="T7" fmla="*/ 122 h 156"/>
                <a:gd name="T8" fmla="*/ 6 w 228"/>
                <a:gd name="T9" fmla="*/ 116 h 156"/>
                <a:gd name="T10" fmla="*/ 12 w 228"/>
                <a:gd name="T11" fmla="*/ 122 h 156"/>
                <a:gd name="T12" fmla="*/ 12 w 228"/>
                <a:gd name="T13" fmla="*/ 132 h 156"/>
                <a:gd name="T14" fmla="*/ 24 w 228"/>
                <a:gd name="T15" fmla="*/ 144 h 156"/>
                <a:gd name="T16" fmla="*/ 204 w 228"/>
                <a:gd name="T17" fmla="*/ 144 h 156"/>
                <a:gd name="T18" fmla="*/ 216 w 228"/>
                <a:gd name="T19" fmla="*/ 132 h 156"/>
                <a:gd name="T20" fmla="*/ 216 w 228"/>
                <a:gd name="T21" fmla="*/ 24 h 156"/>
                <a:gd name="T22" fmla="*/ 204 w 228"/>
                <a:gd name="T23" fmla="*/ 12 h 156"/>
                <a:gd name="T24" fmla="*/ 24 w 228"/>
                <a:gd name="T25" fmla="*/ 12 h 156"/>
                <a:gd name="T26" fmla="*/ 12 w 228"/>
                <a:gd name="T27" fmla="*/ 24 h 156"/>
                <a:gd name="T28" fmla="*/ 12 w 228"/>
                <a:gd name="T29" fmla="*/ 42 h 156"/>
                <a:gd name="T30" fmla="*/ 6 w 228"/>
                <a:gd name="T31" fmla="*/ 48 h 156"/>
                <a:gd name="T32" fmla="*/ 0 w 228"/>
                <a:gd name="T33" fmla="*/ 42 h 156"/>
                <a:gd name="T34" fmla="*/ 0 w 228"/>
                <a:gd name="T35" fmla="*/ 24 h 156"/>
                <a:gd name="T36" fmla="*/ 24 w 228"/>
                <a:gd name="T37" fmla="*/ 0 h 156"/>
                <a:gd name="T38" fmla="*/ 204 w 228"/>
                <a:gd name="T39" fmla="*/ 0 h 156"/>
                <a:gd name="T40" fmla="*/ 228 w 228"/>
                <a:gd name="T41" fmla="*/ 24 h 156"/>
                <a:gd name="T42" fmla="*/ 228 w 228"/>
                <a:gd name="T43" fmla="*/ 132 h 156"/>
                <a:gd name="T44" fmla="*/ 204 w 228"/>
                <a:gd name="T45" fmla="*/ 156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228" h="156">
                  <a:moveTo>
                    <a:pt x="204" y="156"/>
                  </a:moveTo>
                  <a:cubicBezTo>
                    <a:pt x="24" y="156"/>
                    <a:pt x="24" y="156"/>
                    <a:pt x="24" y="156"/>
                  </a:cubicBezTo>
                  <a:cubicBezTo>
                    <a:pt x="11" y="156"/>
                    <a:pt x="0" y="145"/>
                    <a:pt x="0" y="132"/>
                  </a:cubicBezTo>
                  <a:cubicBezTo>
                    <a:pt x="0" y="122"/>
                    <a:pt x="0" y="122"/>
                    <a:pt x="0" y="122"/>
                  </a:cubicBezTo>
                  <a:cubicBezTo>
                    <a:pt x="0" y="119"/>
                    <a:pt x="3" y="116"/>
                    <a:pt x="6" y="116"/>
                  </a:cubicBezTo>
                  <a:cubicBezTo>
                    <a:pt x="10" y="116"/>
                    <a:pt x="12" y="119"/>
                    <a:pt x="12" y="122"/>
                  </a:cubicBezTo>
                  <a:cubicBezTo>
                    <a:pt x="12" y="132"/>
                    <a:pt x="12" y="132"/>
                    <a:pt x="12" y="132"/>
                  </a:cubicBezTo>
                  <a:cubicBezTo>
                    <a:pt x="12" y="139"/>
                    <a:pt x="18" y="144"/>
                    <a:pt x="24" y="144"/>
                  </a:cubicBezTo>
                  <a:cubicBezTo>
                    <a:pt x="204" y="144"/>
                    <a:pt x="204" y="144"/>
                    <a:pt x="204" y="144"/>
                  </a:cubicBezTo>
                  <a:cubicBezTo>
                    <a:pt x="211" y="144"/>
                    <a:pt x="216" y="139"/>
                    <a:pt x="216" y="132"/>
                  </a:cubicBezTo>
                  <a:cubicBezTo>
                    <a:pt x="216" y="24"/>
                    <a:pt x="216" y="24"/>
                    <a:pt x="216" y="24"/>
                  </a:cubicBezTo>
                  <a:cubicBezTo>
                    <a:pt x="216" y="18"/>
                    <a:pt x="211" y="12"/>
                    <a:pt x="204" y="12"/>
                  </a:cubicBezTo>
                  <a:cubicBezTo>
                    <a:pt x="24" y="12"/>
                    <a:pt x="24" y="12"/>
                    <a:pt x="24" y="12"/>
                  </a:cubicBezTo>
                  <a:cubicBezTo>
                    <a:pt x="18" y="12"/>
                    <a:pt x="12" y="18"/>
                    <a:pt x="12" y="24"/>
                  </a:cubicBezTo>
                  <a:cubicBezTo>
                    <a:pt x="12" y="42"/>
                    <a:pt x="12" y="42"/>
                    <a:pt x="12" y="42"/>
                  </a:cubicBezTo>
                  <a:cubicBezTo>
                    <a:pt x="12" y="46"/>
                    <a:pt x="10" y="48"/>
                    <a:pt x="6" y="48"/>
                  </a:cubicBezTo>
                  <a:cubicBezTo>
                    <a:pt x="3" y="48"/>
                    <a:pt x="0" y="46"/>
                    <a:pt x="0" y="42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0" y="11"/>
                    <a:pt x="11" y="0"/>
                    <a:pt x="24" y="0"/>
                  </a:cubicBezTo>
                  <a:cubicBezTo>
                    <a:pt x="204" y="0"/>
                    <a:pt x="204" y="0"/>
                    <a:pt x="204" y="0"/>
                  </a:cubicBezTo>
                  <a:cubicBezTo>
                    <a:pt x="217" y="0"/>
                    <a:pt x="228" y="11"/>
                    <a:pt x="228" y="24"/>
                  </a:cubicBezTo>
                  <a:cubicBezTo>
                    <a:pt x="228" y="132"/>
                    <a:pt x="228" y="132"/>
                    <a:pt x="228" y="132"/>
                  </a:cubicBezTo>
                  <a:cubicBezTo>
                    <a:pt x="228" y="145"/>
                    <a:pt x="217" y="156"/>
                    <a:pt x="204" y="15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3" name="Freeform 190">
              <a:extLst>
                <a:ext uri="{FF2B5EF4-FFF2-40B4-BE49-F238E27FC236}">
                  <a16:creationId xmlns:a16="http://schemas.microsoft.com/office/drawing/2014/main" id="{CECB6975-4DEC-4676-9981-C611C7E401B3}"/>
                </a:ext>
              </a:extLst>
            </p:cNvPr>
            <p:cNvSpPr>
              <a:spLocks/>
            </p:cNvSpPr>
            <p:nvPr/>
          </p:nvSpPr>
          <p:spPr bwMode="auto">
            <a:xfrm>
              <a:off x="2916" y="3371"/>
              <a:ext cx="73" cy="18"/>
            </a:xfrm>
            <a:custGeom>
              <a:avLst/>
              <a:gdLst>
                <a:gd name="T0" fmla="*/ 42 w 48"/>
                <a:gd name="T1" fmla="*/ 12 h 12"/>
                <a:gd name="T2" fmla="*/ 6 w 48"/>
                <a:gd name="T3" fmla="*/ 12 h 12"/>
                <a:gd name="T4" fmla="*/ 0 w 48"/>
                <a:gd name="T5" fmla="*/ 6 h 12"/>
                <a:gd name="T6" fmla="*/ 6 w 48"/>
                <a:gd name="T7" fmla="*/ 0 h 12"/>
                <a:gd name="T8" fmla="*/ 42 w 48"/>
                <a:gd name="T9" fmla="*/ 0 h 12"/>
                <a:gd name="T10" fmla="*/ 48 w 48"/>
                <a:gd name="T11" fmla="*/ 6 h 12"/>
                <a:gd name="T12" fmla="*/ 42 w 48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8" h="12">
                  <a:moveTo>
                    <a:pt x="42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10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6" y="0"/>
                    <a:pt x="48" y="3"/>
                    <a:pt x="48" y="6"/>
                  </a:cubicBezTo>
                  <a:cubicBezTo>
                    <a:pt x="48" y="10"/>
                    <a:pt x="46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54" name="Group 36">
            <a:extLst>
              <a:ext uri="{FF2B5EF4-FFF2-40B4-BE49-F238E27FC236}">
                <a16:creationId xmlns:a16="http://schemas.microsoft.com/office/drawing/2014/main" id="{250FCC5F-CEEC-4B0A-9B49-35D8C23B0AFB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6893713" y="4686839"/>
            <a:ext cx="637200" cy="360407"/>
            <a:chOff x="3616" y="753"/>
            <a:chExt cx="442" cy="250"/>
          </a:xfrm>
          <a:solidFill>
            <a:schemeClr val="tx1"/>
          </a:solidFill>
        </p:grpSpPr>
        <p:sp>
          <p:nvSpPr>
            <p:cNvPr id="55" name="Freeform 37">
              <a:extLst>
                <a:ext uri="{FF2B5EF4-FFF2-40B4-BE49-F238E27FC236}">
                  <a16:creationId xmlns:a16="http://schemas.microsoft.com/office/drawing/2014/main" id="{7B6ECE35-52DA-4F6B-B3BF-04A0F4DED06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616" y="753"/>
              <a:ext cx="442" cy="250"/>
            </a:xfrm>
            <a:custGeom>
              <a:avLst/>
              <a:gdLst>
                <a:gd name="T0" fmla="*/ 144 w 289"/>
                <a:gd name="T1" fmla="*/ 168 h 168"/>
                <a:gd name="T2" fmla="*/ 2 w 289"/>
                <a:gd name="T3" fmla="*/ 88 h 168"/>
                <a:gd name="T4" fmla="*/ 2 w 289"/>
                <a:gd name="T5" fmla="*/ 81 h 168"/>
                <a:gd name="T6" fmla="*/ 144 w 289"/>
                <a:gd name="T7" fmla="*/ 0 h 168"/>
                <a:gd name="T8" fmla="*/ 287 w 289"/>
                <a:gd name="T9" fmla="*/ 81 h 168"/>
                <a:gd name="T10" fmla="*/ 287 w 289"/>
                <a:gd name="T11" fmla="*/ 88 h 168"/>
                <a:gd name="T12" fmla="*/ 144 w 289"/>
                <a:gd name="T13" fmla="*/ 168 h 168"/>
                <a:gd name="T14" fmla="*/ 14 w 289"/>
                <a:gd name="T15" fmla="*/ 84 h 168"/>
                <a:gd name="T16" fmla="*/ 144 w 289"/>
                <a:gd name="T17" fmla="*/ 156 h 168"/>
                <a:gd name="T18" fmla="*/ 275 w 289"/>
                <a:gd name="T19" fmla="*/ 84 h 168"/>
                <a:gd name="T20" fmla="*/ 144 w 289"/>
                <a:gd name="T21" fmla="*/ 12 h 168"/>
                <a:gd name="T22" fmla="*/ 14 w 289"/>
                <a:gd name="T23" fmla="*/ 84 h 1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89" h="168">
                  <a:moveTo>
                    <a:pt x="144" y="168"/>
                  </a:moveTo>
                  <a:cubicBezTo>
                    <a:pt x="66" y="168"/>
                    <a:pt x="4" y="91"/>
                    <a:pt x="2" y="88"/>
                  </a:cubicBezTo>
                  <a:cubicBezTo>
                    <a:pt x="0" y="86"/>
                    <a:pt x="0" y="83"/>
                    <a:pt x="2" y="81"/>
                  </a:cubicBezTo>
                  <a:cubicBezTo>
                    <a:pt x="4" y="77"/>
                    <a:pt x="66" y="0"/>
                    <a:pt x="144" y="0"/>
                  </a:cubicBezTo>
                  <a:cubicBezTo>
                    <a:pt x="223" y="0"/>
                    <a:pt x="285" y="77"/>
                    <a:pt x="287" y="81"/>
                  </a:cubicBezTo>
                  <a:cubicBezTo>
                    <a:pt x="289" y="83"/>
                    <a:pt x="289" y="86"/>
                    <a:pt x="287" y="88"/>
                  </a:cubicBezTo>
                  <a:cubicBezTo>
                    <a:pt x="285" y="91"/>
                    <a:pt x="223" y="168"/>
                    <a:pt x="144" y="168"/>
                  </a:cubicBezTo>
                  <a:close/>
                  <a:moveTo>
                    <a:pt x="14" y="84"/>
                  </a:moveTo>
                  <a:cubicBezTo>
                    <a:pt x="28" y="99"/>
                    <a:pt x="81" y="156"/>
                    <a:pt x="144" y="156"/>
                  </a:cubicBezTo>
                  <a:cubicBezTo>
                    <a:pt x="207" y="156"/>
                    <a:pt x="261" y="99"/>
                    <a:pt x="275" y="84"/>
                  </a:cubicBezTo>
                  <a:cubicBezTo>
                    <a:pt x="261" y="69"/>
                    <a:pt x="207" y="12"/>
                    <a:pt x="144" y="12"/>
                  </a:cubicBezTo>
                  <a:cubicBezTo>
                    <a:pt x="81" y="12"/>
                    <a:pt x="28" y="69"/>
                    <a:pt x="14" y="8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6" name="Freeform 38">
              <a:extLst>
                <a:ext uri="{FF2B5EF4-FFF2-40B4-BE49-F238E27FC236}">
                  <a16:creationId xmlns:a16="http://schemas.microsoft.com/office/drawing/2014/main" id="{596807B0-39C7-47A3-9592-D3B4A436279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08" y="753"/>
              <a:ext cx="257" cy="250"/>
            </a:xfrm>
            <a:custGeom>
              <a:avLst/>
              <a:gdLst>
                <a:gd name="T0" fmla="*/ 84 w 168"/>
                <a:gd name="T1" fmla="*/ 168 h 168"/>
                <a:gd name="T2" fmla="*/ 0 w 168"/>
                <a:gd name="T3" fmla="*/ 84 h 168"/>
                <a:gd name="T4" fmla="*/ 84 w 168"/>
                <a:gd name="T5" fmla="*/ 0 h 168"/>
                <a:gd name="T6" fmla="*/ 168 w 168"/>
                <a:gd name="T7" fmla="*/ 84 h 168"/>
                <a:gd name="T8" fmla="*/ 84 w 168"/>
                <a:gd name="T9" fmla="*/ 168 h 168"/>
                <a:gd name="T10" fmla="*/ 84 w 168"/>
                <a:gd name="T11" fmla="*/ 12 h 168"/>
                <a:gd name="T12" fmla="*/ 12 w 168"/>
                <a:gd name="T13" fmla="*/ 84 h 168"/>
                <a:gd name="T14" fmla="*/ 84 w 168"/>
                <a:gd name="T15" fmla="*/ 156 h 168"/>
                <a:gd name="T16" fmla="*/ 156 w 168"/>
                <a:gd name="T17" fmla="*/ 84 h 168"/>
                <a:gd name="T18" fmla="*/ 84 w 168"/>
                <a:gd name="T19" fmla="*/ 12 h 1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8" h="168">
                  <a:moveTo>
                    <a:pt x="84" y="168"/>
                  </a:moveTo>
                  <a:cubicBezTo>
                    <a:pt x="38" y="168"/>
                    <a:pt x="0" y="131"/>
                    <a:pt x="0" y="84"/>
                  </a:cubicBezTo>
                  <a:cubicBezTo>
                    <a:pt x="0" y="38"/>
                    <a:pt x="38" y="0"/>
                    <a:pt x="84" y="0"/>
                  </a:cubicBezTo>
                  <a:cubicBezTo>
                    <a:pt x="131" y="0"/>
                    <a:pt x="168" y="38"/>
                    <a:pt x="168" y="84"/>
                  </a:cubicBezTo>
                  <a:cubicBezTo>
                    <a:pt x="168" y="131"/>
                    <a:pt x="131" y="168"/>
                    <a:pt x="84" y="168"/>
                  </a:cubicBezTo>
                  <a:close/>
                  <a:moveTo>
                    <a:pt x="84" y="12"/>
                  </a:moveTo>
                  <a:cubicBezTo>
                    <a:pt x="45" y="12"/>
                    <a:pt x="12" y="45"/>
                    <a:pt x="12" y="84"/>
                  </a:cubicBezTo>
                  <a:cubicBezTo>
                    <a:pt x="12" y="124"/>
                    <a:pt x="45" y="156"/>
                    <a:pt x="84" y="156"/>
                  </a:cubicBezTo>
                  <a:cubicBezTo>
                    <a:pt x="124" y="156"/>
                    <a:pt x="156" y="124"/>
                    <a:pt x="156" y="84"/>
                  </a:cubicBezTo>
                  <a:cubicBezTo>
                    <a:pt x="156" y="45"/>
                    <a:pt x="124" y="12"/>
                    <a:pt x="84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7" name="Freeform 39">
              <a:extLst>
                <a:ext uri="{FF2B5EF4-FFF2-40B4-BE49-F238E27FC236}">
                  <a16:creationId xmlns:a16="http://schemas.microsoft.com/office/drawing/2014/main" id="{9AD33D7C-5CAC-47C2-912A-C10CD963E502}"/>
                </a:ext>
              </a:extLst>
            </p:cNvPr>
            <p:cNvSpPr>
              <a:spLocks/>
            </p:cNvSpPr>
            <p:nvPr/>
          </p:nvSpPr>
          <p:spPr bwMode="auto">
            <a:xfrm>
              <a:off x="3796" y="809"/>
              <a:ext cx="82" cy="139"/>
            </a:xfrm>
            <a:custGeom>
              <a:avLst/>
              <a:gdLst>
                <a:gd name="T0" fmla="*/ 26 w 53"/>
                <a:gd name="T1" fmla="*/ 93 h 93"/>
                <a:gd name="T2" fmla="*/ 0 w 53"/>
                <a:gd name="T3" fmla="*/ 66 h 93"/>
                <a:gd name="T4" fmla="*/ 6 w 53"/>
                <a:gd name="T5" fmla="*/ 60 h 93"/>
                <a:gd name="T6" fmla="*/ 12 w 53"/>
                <a:gd name="T7" fmla="*/ 66 h 93"/>
                <a:gd name="T8" fmla="*/ 26 w 53"/>
                <a:gd name="T9" fmla="*/ 81 h 93"/>
                <a:gd name="T10" fmla="*/ 41 w 53"/>
                <a:gd name="T11" fmla="*/ 66 h 93"/>
                <a:gd name="T12" fmla="*/ 26 w 53"/>
                <a:gd name="T13" fmla="*/ 52 h 93"/>
                <a:gd name="T14" fmla="*/ 0 w 53"/>
                <a:gd name="T15" fmla="*/ 26 h 93"/>
                <a:gd name="T16" fmla="*/ 26 w 53"/>
                <a:gd name="T17" fmla="*/ 0 h 93"/>
                <a:gd name="T18" fmla="*/ 53 w 53"/>
                <a:gd name="T19" fmla="*/ 26 h 93"/>
                <a:gd name="T20" fmla="*/ 47 w 53"/>
                <a:gd name="T21" fmla="*/ 32 h 93"/>
                <a:gd name="T22" fmla="*/ 41 w 53"/>
                <a:gd name="T23" fmla="*/ 26 h 93"/>
                <a:gd name="T24" fmla="*/ 26 w 53"/>
                <a:gd name="T25" fmla="*/ 12 h 93"/>
                <a:gd name="T26" fmla="*/ 12 w 53"/>
                <a:gd name="T27" fmla="*/ 26 h 93"/>
                <a:gd name="T28" fmla="*/ 26 w 53"/>
                <a:gd name="T29" fmla="*/ 40 h 93"/>
                <a:gd name="T30" fmla="*/ 53 w 53"/>
                <a:gd name="T31" fmla="*/ 66 h 93"/>
                <a:gd name="T32" fmla="*/ 26 w 53"/>
                <a:gd name="T33" fmla="*/ 93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3" h="93">
                  <a:moveTo>
                    <a:pt x="26" y="93"/>
                  </a:moveTo>
                  <a:cubicBezTo>
                    <a:pt x="12" y="93"/>
                    <a:pt x="0" y="81"/>
                    <a:pt x="0" y="66"/>
                  </a:cubicBezTo>
                  <a:cubicBezTo>
                    <a:pt x="0" y="63"/>
                    <a:pt x="3" y="60"/>
                    <a:pt x="6" y="60"/>
                  </a:cubicBezTo>
                  <a:cubicBezTo>
                    <a:pt x="10" y="60"/>
                    <a:pt x="12" y="63"/>
                    <a:pt x="12" y="66"/>
                  </a:cubicBezTo>
                  <a:cubicBezTo>
                    <a:pt x="12" y="74"/>
                    <a:pt x="19" y="81"/>
                    <a:pt x="26" y="81"/>
                  </a:cubicBezTo>
                  <a:cubicBezTo>
                    <a:pt x="34" y="81"/>
                    <a:pt x="41" y="74"/>
                    <a:pt x="41" y="66"/>
                  </a:cubicBezTo>
                  <a:cubicBezTo>
                    <a:pt x="41" y="59"/>
                    <a:pt x="34" y="52"/>
                    <a:pt x="26" y="52"/>
                  </a:cubicBezTo>
                  <a:cubicBezTo>
                    <a:pt x="12" y="52"/>
                    <a:pt x="0" y="40"/>
                    <a:pt x="0" y="26"/>
                  </a:cubicBezTo>
                  <a:cubicBezTo>
                    <a:pt x="0" y="12"/>
                    <a:pt x="12" y="0"/>
                    <a:pt x="26" y="0"/>
                  </a:cubicBezTo>
                  <a:cubicBezTo>
                    <a:pt x="41" y="0"/>
                    <a:pt x="53" y="12"/>
                    <a:pt x="53" y="26"/>
                  </a:cubicBezTo>
                  <a:cubicBezTo>
                    <a:pt x="53" y="29"/>
                    <a:pt x="50" y="32"/>
                    <a:pt x="47" y="32"/>
                  </a:cubicBezTo>
                  <a:cubicBezTo>
                    <a:pt x="43" y="32"/>
                    <a:pt x="41" y="29"/>
                    <a:pt x="41" y="26"/>
                  </a:cubicBezTo>
                  <a:cubicBezTo>
                    <a:pt x="41" y="18"/>
                    <a:pt x="34" y="12"/>
                    <a:pt x="26" y="12"/>
                  </a:cubicBezTo>
                  <a:cubicBezTo>
                    <a:pt x="19" y="12"/>
                    <a:pt x="12" y="18"/>
                    <a:pt x="12" y="26"/>
                  </a:cubicBezTo>
                  <a:cubicBezTo>
                    <a:pt x="12" y="34"/>
                    <a:pt x="19" y="40"/>
                    <a:pt x="26" y="40"/>
                  </a:cubicBezTo>
                  <a:cubicBezTo>
                    <a:pt x="41" y="40"/>
                    <a:pt x="53" y="52"/>
                    <a:pt x="53" y="66"/>
                  </a:cubicBezTo>
                  <a:cubicBezTo>
                    <a:pt x="53" y="81"/>
                    <a:pt x="41" y="93"/>
                    <a:pt x="26" y="9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8" name="Freeform 40">
              <a:extLst>
                <a:ext uri="{FF2B5EF4-FFF2-40B4-BE49-F238E27FC236}">
                  <a16:creationId xmlns:a16="http://schemas.microsoft.com/office/drawing/2014/main" id="{94E1C21C-2D2F-4633-8F2F-9A414D936550}"/>
                </a:ext>
              </a:extLst>
            </p:cNvPr>
            <p:cNvSpPr>
              <a:spLocks/>
            </p:cNvSpPr>
            <p:nvPr/>
          </p:nvSpPr>
          <p:spPr bwMode="auto">
            <a:xfrm>
              <a:off x="3827" y="930"/>
              <a:ext cx="18" cy="38"/>
            </a:xfrm>
            <a:custGeom>
              <a:avLst/>
              <a:gdLst>
                <a:gd name="T0" fmla="*/ 6 w 12"/>
                <a:gd name="T1" fmla="*/ 25 h 25"/>
                <a:gd name="T2" fmla="*/ 0 w 12"/>
                <a:gd name="T3" fmla="*/ 19 h 25"/>
                <a:gd name="T4" fmla="*/ 0 w 12"/>
                <a:gd name="T5" fmla="*/ 6 h 25"/>
                <a:gd name="T6" fmla="*/ 6 w 12"/>
                <a:gd name="T7" fmla="*/ 0 h 25"/>
                <a:gd name="T8" fmla="*/ 12 w 12"/>
                <a:gd name="T9" fmla="*/ 6 h 25"/>
                <a:gd name="T10" fmla="*/ 12 w 12"/>
                <a:gd name="T11" fmla="*/ 19 h 25"/>
                <a:gd name="T12" fmla="*/ 6 w 12"/>
                <a:gd name="T13" fmla="*/ 25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25">
                  <a:moveTo>
                    <a:pt x="6" y="25"/>
                  </a:moveTo>
                  <a:cubicBezTo>
                    <a:pt x="3" y="25"/>
                    <a:pt x="0" y="23"/>
                    <a:pt x="0" y="19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10" y="0"/>
                    <a:pt x="12" y="2"/>
                    <a:pt x="12" y="6"/>
                  </a:cubicBezTo>
                  <a:cubicBezTo>
                    <a:pt x="12" y="19"/>
                    <a:pt x="12" y="19"/>
                    <a:pt x="12" y="19"/>
                  </a:cubicBezTo>
                  <a:cubicBezTo>
                    <a:pt x="12" y="23"/>
                    <a:pt x="10" y="25"/>
                    <a:pt x="6" y="2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9" name="Freeform 41">
              <a:extLst>
                <a:ext uri="{FF2B5EF4-FFF2-40B4-BE49-F238E27FC236}">
                  <a16:creationId xmlns:a16="http://schemas.microsoft.com/office/drawing/2014/main" id="{8C2D9385-5EB9-4BA3-BADD-DA107E434AFF}"/>
                </a:ext>
              </a:extLst>
            </p:cNvPr>
            <p:cNvSpPr>
              <a:spLocks/>
            </p:cNvSpPr>
            <p:nvPr/>
          </p:nvSpPr>
          <p:spPr bwMode="auto">
            <a:xfrm>
              <a:off x="3827" y="788"/>
              <a:ext cx="18" cy="39"/>
            </a:xfrm>
            <a:custGeom>
              <a:avLst/>
              <a:gdLst>
                <a:gd name="T0" fmla="*/ 6 w 12"/>
                <a:gd name="T1" fmla="*/ 26 h 26"/>
                <a:gd name="T2" fmla="*/ 0 w 12"/>
                <a:gd name="T3" fmla="*/ 20 h 26"/>
                <a:gd name="T4" fmla="*/ 0 w 12"/>
                <a:gd name="T5" fmla="*/ 6 h 26"/>
                <a:gd name="T6" fmla="*/ 6 w 12"/>
                <a:gd name="T7" fmla="*/ 0 h 26"/>
                <a:gd name="T8" fmla="*/ 12 w 12"/>
                <a:gd name="T9" fmla="*/ 6 h 26"/>
                <a:gd name="T10" fmla="*/ 12 w 12"/>
                <a:gd name="T11" fmla="*/ 20 h 26"/>
                <a:gd name="T12" fmla="*/ 6 w 12"/>
                <a:gd name="T13" fmla="*/ 26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26">
                  <a:moveTo>
                    <a:pt x="6" y="26"/>
                  </a:moveTo>
                  <a:cubicBezTo>
                    <a:pt x="3" y="26"/>
                    <a:pt x="0" y="23"/>
                    <a:pt x="0" y="2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10" y="0"/>
                    <a:pt x="12" y="3"/>
                    <a:pt x="12" y="6"/>
                  </a:cubicBezTo>
                  <a:cubicBezTo>
                    <a:pt x="12" y="20"/>
                    <a:pt x="12" y="20"/>
                    <a:pt x="12" y="20"/>
                  </a:cubicBezTo>
                  <a:cubicBezTo>
                    <a:pt x="12" y="23"/>
                    <a:pt x="10" y="26"/>
                    <a:pt x="6" y="2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5" name="Rectangle 4">
            <a:extLst>
              <a:ext uri="{FF2B5EF4-FFF2-40B4-BE49-F238E27FC236}">
                <a16:creationId xmlns:a16="http://schemas.microsoft.com/office/drawing/2014/main" id="{CA324D20-99FA-D847-A481-062ABB988053}"/>
              </a:ext>
            </a:extLst>
          </p:cNvPr>
          <p:cNvSpPr/>
          <p:nvPr/>
        </p:nvSpPr>
        <p:spPr>
          <a:xfrm>
            <a:off x="375384" y="5760105"/>
            <a:ext cx="11367437" cy="49817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 algn="ctr">
              <a:buFont typeface="Wingdings" panose="05000000000000000000" pitchFamily="2" charset="2"/>
              <a:buChar char="Ø"/>
            </a:pPr>
            <a:r>
              <a:rPr lang="de-DE" b="1" dirty="0">
                <a:solidFill>
                  <a:schemeClr val="tx1"/>
                </a:solidFill>
                <a:sym typeface="Wingdings" panose="05000000000000000000" pitchFamily="2" charset="2"/>
              </a:rPr>
              <a:t> f</a:t>
            </a:r>
            <a:r>
              <a:rPr lang="de-DE" b="1" dirty="0">
                <a:solidFill>
                  <a:schemeClr val="tx1"/>
                </a:solidFill>
              </a:rPr>
              <a:t>ür den Endnutzer kostenfrei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F948A556-24B1-4C85-8E2D-29C3CE1132DE}"/>
              </a:ext>
            </a:extLst>
          </p:cNvPr>
          <p:cNvSpPr txBox="1"/>
          <p:nvPr/>
        </p:nvSpPr>
        <p:spPr>
          <a:xfrm>
            <a:off x="8207828" y="1512605"/>
            <a:ext cx="360740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i="1" dirty="0"/>
              <a:t>Geschäftspartner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83138D30-39CA-4F7C-B351-D97EE7BEE9A4}"/>
              </a:ext>
            </a:extLst>
          </p:cNvPr>
          <p:cNvCxnSpPr>
            <a:cxnSpLocks/>
          </p:cNvCxnSpPr>
          <p:nvPr/>
        </p:nvCxnSpPr>
        <p:spPr>
          <a:xfrm>
            <a:off x="375384" y="5760105"/>
            <a:ext cx="11439849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" name="Title 1">
            <a:extLst>
              <a:ext uri="{FF2B5EF4-FFF2-40B4-BE49-F238E27FC236}">
                <a16:creationId xmlns:a16="http://schemas.microsoft.com/office/drawing/2014/main" id="{13E7FE52-6CE1-42A5-A602-8BCAD7F092E8}"/>
              </a:ext>
            </a:extLst>
          </p:cNvPr>
          <p:cNvSpPr txBox="1">
            <a:spLocks/>
          </p:cNvSpPr>
          <p:nvPr/>
        </p:nvSpPr>
        <p:spPr>
          <a:xfrm>
            <a:off x="375383" y="301752"/>
            <a:ext cx="5448474" cy="660774"/>
          </a:xfrm>
          <a:prstGeom prst="rect">
            <a:avLst/>
          </a:prstGeom>
          <a:noFill/>
          <a:ln>
            <a:noFill/>
          </a:ln>
        </p:spPr>
        <p:txBody>
          <a:bodyPr anchor="ctr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 cap="all" spc="200" baseline="0">
                <a:solidFill>
                  <a:srgbClr val="262626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dirty="0" err="1"/>
              <a:t>Recap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13402428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C87FC1C-4B39-430E-A4C6-530E1FDF1D6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649439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76"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9C87FC1C-4B39-430E-A4C6-530E1FDF1D6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89C50A1A-D645-4F62-94D5-EE3C7DE9316A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de-DE" sz="2800" b="1" dirty="0">
              <a:latin typeface="Gill Sans MT" panose="020B0502020104020203" pitchFamily="34" charset="0"/>
              <a:ea typeface="+mj-ea"/>
              <a:cs typeface="+mj-cs"/>
              <a:sym typeface="Gill Sans MT" panose="020B0502020104020203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40CD393-42BE-4175-B005-712B6E5B61B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08914" y="301752"/>
            <a:ext cx="5812972" cy="660774"/>
          </a:xfrm>
        </p:spPr>
        <p:txBody>
          <a:bodyPr/>
          <a:lstStyle/>
          <a:p>
            <a:pPr algn="r"/>
            <a:r>
              <a:rPr lang="de-DE" dirty="0"/>
              <a:t>Market Validation</a:t>
            </a: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B5F1FEF1-7CE7-42E6-BFD2-85E891953A19}"/>
              </a:ext>
            </a:extLst>
          </p:cNvPr>
          <p:cNvGrpSpPr/>
          <p:nvPr/>
        </p:nvGrpSpPr>
        <p:grpSpPr>
          <a:xfrm>
            <a:off x="1741072" y="1482320"/>
            <a:ext cx="8709857" cy="4285247"/>
            <a:chOff x="645899" y="1828799"/>
            <a:chExt cx="8709857" cy="4285247"/>
          </a:xfrm>
        </p:grpSpPr>
        <p:grpSp>
          <p:nvGrpSpPr>
            <p:cNvPr id="12" name="Group 11">
              <a:extLst>
                <a:ext uri="{FF2B5EF4-FFF2-40B4-BE49-F238E27FC236}">
                  <a16:creationId xmlns:a16="http://schemas.microsoft.com/office/drawing/2014/main" id="{720355AC-F193-44C5-9475-ABDCB724F513}"/>
                </a:ext>
              </a:extLst>
            </p:cNvPr>
            <p:cNvGrpSpPr/>
            <p:nvPr/>
          </p:nvGrpSpPr>
          <p:grpSpPr>
            <a:xfrm>
              <a:off x="3731827" y="1828799"/>
              <a:ext cx="2538000" cy="4285247"/>
              <a:chOff x="3867728" y="1828799"/>
              <a:chExt cx="2538000" cy="4285247"/>
            </a:xfrm>
          </p:grpSpPr>
          <p:grpSp>
            <p:nvGrpSpPr>
              <p:cNvPr id="11" name="Group 10">
                <a:extLst>
                  <a:ext uri="{FF2B5EF4-FFF2-40B4-BE49-F238E27FC236}">
                    <a16:creationId xmlns:a16="http://schemas.microsoft.com/office/drawing/2014/main" id="{81CC9AE9-8FBB-4FB6-9B43-158EAB0BA632}"/>
                  </a:ext>
                </a:extLst>
              </p:cNvPr>
              <p:cNvGrpSpPr/>
              <p:nvPr/>
            </p:nvGrpSpPr>
            <p:grpSpPr>
              <a:xfrm>
                <a:off x="3867728" y="1828799"/>
                <a:ext cx="2536371" cy="3367760"/>
                <a:chOff x="5889171" y="2035628"/>
                <a:chExt cx="2536371" cy="3367760"/>
              </a:xfrm>
            </p:grpSpPr>
            <p:sp>
              <p:nvSpPr>
                <p:cNvPr id="6" name="Oval 5">
                  <a:extLst>
                    <a:ext uri="{FF2B5EF4-FFF2-40B4-BE49-F238E27FC236}">
                      <a16:creationId xmlns:a16="http://schemas.microsoft.com/office/drawing/2014/main" id="{CFC28D33-10FC-407D-883B-EC9E6D4C1BFA}"/>
                    </a:ext>
                  </a:extLst>
                </p:cNvPr>
                <p:cNvSpPr/>
                <p:nvPr/>
              </p:nvSpPr>
              <p:spPr>
                <a:xfrm>
                  <a:off x="5889171" y="2035628"/>
                  <a:ext cx="2536371" cy="2536371"/>
                </a:xfrm>
                <a:prstGeom prst="ellipse">
                  <a:avLst/>
                </a:prstGeom>
                <a:solidFill>
                  <a:schemeClr val="accent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de-DE" sz="4000" dirty="0">
                      <a:latin typeface="Arial Black" panose="020B0A04020102020204" pitchFamily="34" charset="0"/>
                    </a:rPr>
                    <a:t>146%</a:t>
                  </a:r>
                </a:p>
              </p:txBody>
            </p:sp>
            <p:sp>
              <p:nvSpPr>
                <p:cNvPr id="7" name="TextBox 6">
                  <a:extLst>
                    <a:ext uri="{FF2B5EF4-FFF2-40B4-BE49-F238E27FC236}">
                      <a16:creationId xmlns:a16="http://schemas.microsoft.com/office/drawing/2014/main" id="{9A3C5DBF-F466-4E49-ADEE-86E1F7303C34}"/>
                    </a:ext>
                  </a:extLst>
                </p:cNvPr>
                <p:cNvSpPr txBox="1"/>
                <p:nvPr/>
              </p:nvSpPr>
              <p:spPr>
                <a:xfrm>
                  <a:off x="5889171" y="4757057"/>
                  <a:ext cx="2536371" cy="646331"/>
                </a:xfrm>
                <a:prstGeom prst="rect">
                  <a:avLst/>
                </a:prstGeom>
                <a:noFill/>
              </p:spPr>
              <p:txBody>
                <a:bodyPr wrap="square" lIns="36000" rIns="36000" rtlCol="0">
                  <a:spAutoFit/>
                </a:bodyPr>
                <a:lstStyle/>
                <a:p>
                  <a:pPr algn="ctr"/>
                  <a:r>
                    <a:rPr lang="de-DE" dirty="0"/>
                    <a:t>Anstieg dual Studierender (seit 2004)</a:t>
                  </a:r>
                </a:p>
              </p:txBody>
            </p:sp>
          </p:grpSp>
          <p:sp>
            <p:nvSpPr>
              <p:cNvPr id="17" name="Rectangle 16">
                <a:extLst>
                  <a:ext uri="{FF2B5EF4-FFF2-40B4-BE49-F238E27FC236}">
                    <a16:creationId xmlns:a16="http://schemas.microsoft.com/office/drawing/2014/main" id="{014DF4D8-F045-4DC5-B84C-2CBCFAC841DC}"/>
                  </a:ext>
                </a:extLst>
              </p:cNvPr>
              <p:cNvSpPr/>
              <p:nvPr/>
            </p:nvSpPr>
            <p:spPr>
              <a:xfrm>
                <a:off x="3867728" y="5394046"/>
                <a:ext cx="2538000" cy="720000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de-DE" dirty="0"/>
                  <a:t>2.897.000</a:t>
                </a:r>
              </a:p>
              <a:p>
                <a:pPr algn="ctr"/>
                <a:r>
                  <a:rPr lang="de-DE" dirty="0"/>
                  <a:t>Studierende (2019)</a:t>
                </a:r>
              </a:p>
            </p:txBody>
          </p:sp>
        </p:grpSp>
        <p:grpSp>
          <p:nvGrpSpPr>
            <p:cNvPr id="19" name="Group 18">
              <a:extLst>
                <a:ext uri="{FF2B5EF4-FFF2-40B4-BE49-F238E27FC236}">
                  <a16:creationId xmlns:a16="http://schemas.microsoft.com/office/drawing/2014/main" id="{5D34758B-58ED-4703-ADBB-6CD906E0C90F}"/>
                </a:ext>
              </a:extLst>
            </p:cNvPr>
            <p:cNvGrpSpPr/>
            <p:nvPr/>
          </p:nvGrpSpPr>
          <p:grpSpPr>
            <a:xfrm>
              <a:off x="645899" y="1828799"/>
              <a:ext cx="2538000" cy="4285247"/>
              <a:chOff x="645899" y="1828799"/>
              <a:chExt cx="2538000" cy="4285247"/>
            </a:xfrm>
          </p:grpSpPr>
          <p:grpSp>
            <p:nvGrpSpPr>
              <p:cNvPr id="10" name="Group 9">
                <a:extLst>
                  <a:ext uri="{FF2B5EF4-FFF2-40B4-BE49-F238E27FC236}">
                    <a16:creationId xmlns:a16="http://schemas.microsoft.com/office/drawing/2014/main" id="{1FB78637-0D27-442B-9962-6AFA5DA552CA}"/>
                  </a:ext>
                </a:extLst>
              </p:cNvPr>
              <p:cNvGrpSpPr/>
              <p:nvPr/>
            </p:nvGrpSpPr>
            <p:grpSpPr>
              <a:xfrm>
                <a:off x="645899" y="1828799"/>
                <a:ext cx="2536372" cy="3367760"/>
                <a:chOff x="527785" y="2035628"/>
                <a:chExt cx="2536372" cy="3367760"/>
              </a:xfrm>
            </p:grpSpPr>
            <p:sp>
              <p:nvSpPr>
                <p:cNvPr id="8" name="Oval 7">
                  <a:extLst>
                    <a:ext uri="{FF2B5EF4-FFF2-40B4-BE49-F238E27FC236}">
                      <a16:creationId xmlns:a16="http://schemas.microsoft.com/office/drawing/2014/main" id="{E644A998-A518-4DA7-B82F-DBA446B5A8B7}"/>
                    </a:ext>
                  </a:extLst>
                </p:cNvPr>
                <p:cNvSpPr/>
                <p:nvPr/>
              </p:nvSpPr>
              <p:spPr>
                <a:xfrm>
                  <a:off x="527785" y="2035628"/>
                  <a:ext cx="2536371" cy="2536371"/>
                </a:xfrm>
                <a:prstGeom prst="ellipse">
                  <a:avLst/>
                </a:prstGeom>
                <a:solidFill>
                  <a:schemeClr val="accent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de-DE" sz="4000" dirty="0">
                      <a:latin typeface="Arial Black" panose="020B0A04020102020204" pitchFamily="34" charset="0"/>
                    </a:rPr>
                    <a:t>48%</a:t>
                  </a:r>
                </a:p>
              </p:txBody>
            </p:sp>
            <p:sp>
              <p:nvSpPr>
                <p:cNvPr id="9" name="TextBox 8">
                  <a:extLst>
                    <a:ext uri="{FF2B5EF4-FFF2-40B4-BE49-F238E27FC236}">
                      <a16:creationId xmlns:a16="http://schemas.microsoft.com/office/drawing/2014/main" id="{E2464510-D14C-43F5-836C-1ED445A6018C}"/>
                    </a:ext>
                  </a:extLst>
                </p:cNvPr>
                <p:cNvSpPr txBox="1"/>
                <p:nvPr/>
              </p:nvSpPr>
              <p:spPr>
                <a:xfrm>
                  <a:off x="527785" y="4757057"/>
                  <a:ext cx="2536372" cy="646331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de-DE" dirty="0"/>
                    <a:t>Anstieg Studierender</a:t>
                  </a:r>
                </a:p>
                <a:p>
                  <a:pPr algn="ctr"/>
                  <a:r>
                    <a:rPr lang="de-DE" dirty="0"/>
                    <a:t>(seit 2004)</a:t>
                  </a:r>
                </a:p>
              </p:txBody>
            </p:sp>
          </p:grpSp>
          <p:sp>
            <p:nvSpPr>
              <p:cNvPr id="18" name="Rectangle 17">
                <a:extLst>
                  <a:ext uri="{FF2B5EF4-FFF2-40B4-BE49-F238E27FC236}">
                    <a16:creationId xmlns:a16="http://schemas.microsoft.com/office/drawing/2014/main" id="{9E836D1F-E42B-41ED-A4B2-7BB18FF80299}"/>
                  </a:ext>
                </a:extLst>
              </p:cNvPr>
              <p:cNvSpPr/>
              <p:nvPr/>
            </p:nvSpPr>
            <p:spPr>
              <a:xfrm>
                <a:off x="645899" y="5394046"/>
                <a:ext cx="2538000" cy="720000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de-DE" dirty="0"/>
                  <a:t>100.739</a:t>
                </a:r>
              </a:p>
              <a:p>
                <a:pPr algn="ctr"/>
                <a:r>
                  <a:rPr lang="de-DE" dirty="0"/>
                  <a:t>Studierende (2016)</a:t>
                </a:r>
              </a:p>
            </p:txBody>
          </p:sp>
        </p:grpSp>
        <p:grpSp>
          <p:nvGrpSpPr>
            <p:cNvPr id="3" name="Group 2">
              <a:extLst>
                <a:ext uri="{FF2B5EF4-FFF2-40B4-BE49-F238E27FC236}">
                  <a16:creationId xmlns:a16="http://schemas.microsoft.com/office/drawing/2014/main" id="{9C6D6AF9-6D48-4151-A2BD-B0DF388C5993}"/>
                </a:ext>
              </a:extLst>
            </p:cNvPr>
            <p:cNvGrpSpPr/>
            <p:nvPr/>
          </p:nvGrpSpPr>
          <p:grpSpPr>
            <a:xfrm>
              <a:off x="6817756" y="1828799"/>
              <a:ext cx="2538000" cy="4285247"/>
              <a:chOff x="6817756" y="1828799"/>
              <a:chExt cx="2538000" cy="4285247"/>
            </a:xfrm>
          </p:grpSpPr>
          <p:grpSp>
            <p:nvGrpSpPr>
              <p:cNvPr id="13" name="Group 12">
                <a:extLst>
                  <a:ext uri="{FF2B5EF4-FFF2-40B4-BE49-F238E27FC236}">
                    <a16:creationId xmlns:a16="http://schemas.microsoft.com/office/drawing/2014/main" id="{ED58A277-3340-4A6A-A5B4-FA810700E597}"/>
                  </a:ext>
                </a:extLst>
              </p:cNvPr>
              <p:cNvGrpSpPr/>
              <p:nvPr/>
            </p:nvGrpSpPr>
            <p:grpSpPr>
              <a:xfrm>
                <a:off x="6817756" y="1828799"/>
                <a:ext cx="2536371" cy="3367760"/>
                <a:chOff x="5889171" y="2035628"/>
                <a:chExt cx="2536371" cy="3367760"/>
              </a:xfrm>
            </p:grpSpPr>
            <p:sp>
              <p:nvSpPr>
                <p:cNvPr id="14" name="Oval 13">
                  <a:extLst>
                    <a:ext uri="{FF2B5EF4-FFF2-40B4-BE49-F238E27FC236}">
                      <a16:creationId xmlns:a16="http://schemas.microsoft.com/office/drawing/2014/main" id="{AA01A320-AF6F-43B5-96C7-878AFE0AE09F}"/>
                    </a:ext>
                  </a:extLst>
                </p:cNvPr>
                <p:cNvSpPr/>
                <p:nvPr/>
              </p:nvSpPr>
              <p:spPr>
                <a:xfrm>
                  <a:off x="5889171" y="2035628"/>
                  <a:ext cx="2536371" cy="2536371"/>
                </a:xfrm>
                <a:prstGeom prst="ellipse">
                  <a:avLst/>
                </a:prstGeom>
                <a:solidFill>
                  <a:schemeClr val="accent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none" lIns="0" rIns="0" rtlCol="0" anchor="ctr"/>
                <a:lstStyle/>
                <a:p>
                  <a:pPr algn="ctr"/>
                  <a:r>
                    <a:rPr lang="de-DE" sz="4000" dirty="0">
                      <a:latin typeface="Arial Black" panose="020B0A04020102020204" pitchFamily="34" charset="0"/>
                    </a:rPr>
                    <a:t>433.236</a:t>
                  </a:r>
                </a:p>
              </p:txBody>
            </p:sp>
            <p:sp>
              <p:nvSpPr>
                <p:cNvPr id="15" name="TextBox 14">
                  <a:extLst>
                    <a:ext uri="{FF2B5EF4-FFF2-40B4-BE49-F238E27FC236}">
                      <a16:creationId xmlns:a16="http://schemas.microsoft.com/office/drawing/2014/main" id="{E1C8B78E-3FAA-47CE-9456-AE16951C528A}"/>
                    </a:ext>
                  </a:extLst>
                </p:cNvPr>
                <p:cNvSpPr txBox="1"/>
                <p:nvPr/>
              </p:nvSpPr>
              <p:spPr>
                <a:xfrm>
                  <a:off x="5889171" y="4757057"/>
                  <a:ext cx="2536371" cy="646331"/>
                </a:xfrm>
                <a:prstGeom prst="rect">
                  <a:avLst/>
                </a:prstGeom>
                <a:noFill/>
              </p:spPr>
              <p:txBody>
                <a:bodyPr wrap="square" lIns="36000" rIns="36000" rtlCol="0">
                  <a:spAutoFit/>
                </a:bodyPr>
                <a:lstStyle/>
                <a:p>
                  <a:pPr algn="ctr"/>
                  <a:r>
                    <a:rPr lang="de-DE" dirty="0"/>
                    <a:t>Abiturienten </a:t>
                  </a:r>
                </a:p>
                <a:p>
                  <a:pPr algn="ctr"/>
                  <a:r>
                    <a:rPr lang="de-DE" dirty="0"/>
                    <a:t>(2019)</a:t>
                  </a:r>
                </a:p>
              </p:txBody>
            </p:sp>
          </p:grpSp>
          <p:sp>
            <p:nvSpPr>
              <p:cNvPr id="16" name="Rectangle 15">
                <a:extLst>
                  <a:ext uri="{FF2B5EF4-FFF2-40B4-BE49-F238E27FC236}">
                    <a16:creationId xmlns:a16="http://schemas.microsoft.com/office/drawing/2014/main" id="{7021B386-B986-4C63-8C88-332C9ADB6EE3}"/>
                  </a:ext>
                </a:extLst>
              </p:cNvPr>
              <p:cNvSpPr/>
              <p:nvPr/>
            </p:nvSpPr>
            <p:spPr>
              <a:xfrm>
                <a:off x="6817756" y="5394046"/>
                <a:ext cx="2538000" cy="720000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de-DE" dirty="0"/>
                  <a:t>508.229 Studienanfänger (2019)</a:t>
                </a:r>
              </a:p>
            </p:txBody>
          </p:sp>
        </p:grpSp>
      </p:grpSp>
      <p:sp>
        <p:nvSpPr>
          <p:cNvPr id="21" name="Title 1">
            <a:extLst>
              <a:ext uri="{FF2B5EF4-FFF2-40B4-BE49-F238E27FC236}">
                <a16:creationId xmlns:a16="http://schemas.microsoft.com/office/drawing/2014/main" id="{C0B672CB-2EC6-435B-8F03-99244B513E27}"/>
              </a:ext>
            </a:extLst>
          </p:cNvPr>
          <p:cNvSpPr txBox="1">
            <a:spLocks/>
          </p:cNvSpPr>
          <p:nvPr/>
        </p:nvSpPr>
        <p:spPr>
          <a:xfrm>
            <a:off x="375383" y="301752"/>
            <a:ext cx="5448474" cy="660774"/>
          </a:xfrm>
          <a:prstGeom prst="rect">
            <a:avLst/>
          </a:prstGeom>
          <a:noFill/>
          <a:ln>
            <a:noFill/>
          </a:ln>
        </p:spPr>
        <p:txBody>
          <a:bodyPr anchor="ctr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 cap="all" spc="200" baseline="0">
                <a:solidFill>
                  <a:srgbClr val="262626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dirty="0" err="1"/>
              <a:t>Recap</a:t>
            </a:r>
            <a:endParaRPr lang="de-DE" dirty="0"/>
          </a:p>
        </p:txBody>
      </p:sp>
      <p:sp>
        <p:nvSpPr>
          <p:cNvPr id="22" name="Title 1">
            <a:extLst>
              <a:ext uri="{FF2B5EF4-FFF2-40B4-BE49-F238E27FC236}">
                <a16:creationId xmlns:a16="http://schemas.microsoft.com/office/drawing/2014/main" id="{E3EE0094-2CA4-4045-AC3A-A7EFF06D0CB1}"/>
              </a:ext>
            </a:extLst>
          </p:cNvPr>
          <p:cNvSpPr txBox="1">
            <a:spLocks/>
          </p:cNvSpPr>
          <p:nvPr/>
        </p:nvSpPr>
        <p:spPr>
          <a:xfrm>
            <a:off x="375383" y="969028"/>
            <a:ext cx="11439850" cy="330387"/>
          </a:xfrm>
          <a:prstGeom prst="rect">
            <a:avLst/>
          </a:prstGeom>
          <a:noFill/>
          <a:ln>
            <a:noFill/>
          </a:ln>
        </p:spPr>
        <p:txBody>
          <a:bodyPr anchor="ctr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 cap="all" spc="200" baseline="0">
                <a:solidFill>
                  <a:srgbClr val="262626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sz="2000" b="0" i="1" cap="none" dirty="0"/>
              <a:t>Das duale Studium stellt einen wachsenden Markt dar!</a:t>
            </a:r>
          </a:p>
        </p:txBody>
      </p:sp>
      <p:sp>
        <p:nvSpPr>
          <p:cNvPr id="23" name="Footer Placeholder 11">
            <a:extLst>
              <a:ext uri="{FF2B5EF4-FFF2-40B4-BE49-F238E27FC236}">
                <a16:creationId xmlns:a16="http://schemas.microsoft.com/office/drawing/2014/main" id="{3748D152-48C0-F544-9235-B279BAAC6A3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75384" y="6556247"/>
            <a:ext cx="6862233" cy="229563"/>
          </a:xfrm>
          <a:prstGeom prst="rect">
            <a:avLst/>
          </a:prstGeom>
        </p:spPr>
        <p:txBody>
          <a:bodyPr/>
          <a:lstStyle/>
          <a:p>
            <a:r>
              <a:rPr lang="en-US" sz="900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pyright © 2019 dual study fit. All rights reserved. </a:t>
            </a:r>
            <a:endParaRPr lang="de-DE" sz="900" dirty="0">
              <a:solidFill>
                <a:schemeClr val="bg1">
                  <a:lumMod val="6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6965514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40A10D55-92B5-469B-B0AA-75EA91D9A2B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89"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40A10D55-92B5-469B-B0AA-75EA91D9A2B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93544CB-F0B9-4434-B5CC-12F00291035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5384" y="301752"/>
            <a:ext cx="8980372" cy="660774"/>
          </a:xfrm>
        </p:spPr>
        <p:txBody>
          <a:bodyPr/>
          <a:lstStyle/>
          <a:p>
            <a:r>
              <a:rPr lang="de-DE"/>
              <a:t>agenda</a:t>
            </a:r>
            <a:endParaRPr lang="de-DE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8509EEA2-55D0-426F-B0FC-F77471B0BBD9}"/>
              </a:ext>
            </a:extLst>
          </p:cNvPr>
          <p:cNvSpPr txBox="1">
            <a:spLocks/>
          </p:cNvSpPr>
          <p:nvPr/>
        </p:nvSpPr>
        <p:spPr>
          <a:xfrm>
            <a:off x="368300" y="1285785"/>
            <a:ext cx="11351296" cy="4286430"/>
          </a:xfrm>
          <a:prstGeom prst="rect">
            <a:avLst/>
          </a:prstGeom>
        </p:spPr>
        <p:txBody>
          <a:bodyPr anchor="ctr"/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6858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9144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1430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312863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484313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65735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882775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463645" lvl="5" indent="-285750">
              <a:spcAft>
                <a:spcPts val="1800"/>
              </a:spcAft>
              <a:buFont typeface="Arial" panose="020B0604020202020204" pitchFamily="34" charset="0"/>
              <a:buChar char="█"/>
            </a:pPr>
            <a:r>
              <a:rPr lang="de-DE" dirty="0" err="1">
                <a:latin typeface="Arial" panose="020B0604020202020204" pitchFamily="34" charset="0"/>
                <a:cs typeface="Arial" panose="020B0604020202020204" pitchFamily="34" charset="0"/>
              </a:rPr>
              <a:t>Recap</a:t>
            </a: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463645" lvl="5" indent="-285750">
              <a:spcAft>
                <a:spcPts val="1800"/>
              </a:spcAft>
              <a:buFont typeface="Arial" panose="020B0604020202020204" pitchFamily="34" charset="0"/>
              <a:buChar char="█"/>
            </a:pPr>
            <a:r>
              <a:rPr lang="de-DE" b="1" dirty="0">
                <a:latin typeface="Arial" panose="020B0604020202020204" pitchFamily="34" charset="0"/>
                <a:cs typeface="Arial" panose="020B0604020202020204" pitchFamily="34" charset="0"/>
              </a:rPr>
              <a:t>Achievements</a:t>
            </a:r>
          </a:p>
          <a:p>
            <a:pPr marL="1463645" lvl="5" indent="-285750">
              <a:spcAft>
                <a:spcPts val="1800"/>
              </a:spcAft>
              <a:buFont typeface="Arial" panose="020B0604020202020204" pitchFamily="34" charset="0"/>
              <a:buChar char="█"/>
            </a:pPr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Abweichungen von Ausgangskonzeption</a:t>
            </a:r>
          </a:p>
          <a:p>
            <a:pPr marL="1463645" lvl="5" indent="-285750">
              <a:spcAft>
                <a:spcPts val="1800"/>
              </a:spcAft>
              <a:buFont typeface="Arial" panose="020B0604020202020204" pitchFamily="34" charset="0"/>
              <a:buChar char="█"/>
            </a:pPr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Live Präsentation</a:t>
            </a:r>
          </a:p>
          <a:p>
            <a:pPr marL="1463645" lvl="5" indent="-285750">
              <a:spcAft>
                <a:spcPts val="1800"/>
              </a:spcAft>
              <a:buFont typeface="Arial" panose="020B0604020202020204" pitchFamily="34" charset="0"/>
              <a:buChar char="█"/>
            </a:pPr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Ausblick</a:t>
            </a:r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784CCE96-990E-40E5-9925-F6252FC604A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75384" y="6556247"/>
            <a:ext cx="6862233" cy="229563"/>
          </a:xfrm>
          <a:prstGeom prst="rect">
            <a:avLst/>
          </a:prstGeom>
        </p:spPr>
        <p:txBody>
          <a:bodyPr/>
          <a:lstStyle/>
          <a:p>
            <a:r>
              <a:rPr lang="en-US" sz="900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pyright © 2019 dual study fit. All rights reserved. </a:t>
            </a:r>
            <a:endParaRPr lang="de-DE" sz="900" dirty="0">
              <a:solidFill>
                <a:schemeClr val="bg1">
                  <a:lumMod val="6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2BF1A655-3D4E-43D7-A112-7B5531E5FED7}"/>
              </a:ext>
            </a:extLst>
          </p:cNvPr>
          <p:cNvSpPr/>
          <p:nvPr/>
        </p:nvSpPr>
        <p:spPr bwMode="auto">
          <a:xfrm>
            <a:off x="1559496" y="2581246"/>
            <a:ext cx="6031497" cy="504056"/>
          </a:xfrm>
          <a:prstGeom prst="rect">
            <a:avLst/>
          </a:prstGeom>
          <a:noFill/>
          <a:ln w="28575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1042988" rtl="0" eaLnBrk="1" fontAlgn="base" latinLnBrk="0" hangingPunct="1">
              <a:lnSpc>
                <a:spcPct val="11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5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2029158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79721E3-A3D8-4FFC-9054-2519044BD8D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819444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01"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779721E3-A3D8-4FFC-9054-2519044BD8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3AD24B27-E630-4647-8DC1-BCBD5367F62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5383" y="301752"/>
            <a:ext cx="11457387" cy="660774"/>
          </a:xfrm>
        </p:spPr>
        <p:txBody>
          <a:bodyPr/>
          <a:lstStyle/>
          <a:p>
            <a:r>
              <a:rPr lang="de-DE" dirty="0"/>
              <a:t>Achievements</a:t>
            </a: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7CCD5332-648F-4BA9-831C-D17B303BCD8B}"/>
              </a:ext>
            </a:extLst>
          </p:cNvPr>
          <p:cNvSpPr txBox="1">
            <a:spLocks/>
          </p:cNvSpPr>
          <p:nvPr/>
        </p:nvSpPr>
        <p:spPr>
          <a:xfrm>
            <a:off x="375383" y="969028"/>
            <a:ext cx="11439850" cy="330387"/>
          </a:xfrm>
          <a:prstGeom prst="rect">
            <a:avLst/>
          </a:prstGeom>
          <a:noFill/>
          <a:ln>
            <a:noFill/>
          </a:ln>
        </p:spPr>
        <p:txBody>
          <a:bodyPr anchor="ctr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 cap="all" spc="200" baseline="0">
                <a:solidFill>
                  <a:srgbClr val="262626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sz="2000" b="0" i="1" cap="none" dirty="0"/>
              <a:t>dual </a:t>
            </a:r>
            <a:r>
              <a:rPr lang="de-DE" sz="2000" b="0" i="1" cap="none" dirty="0" err="1"/>
              <a:t>study</a:t>
            </a:r>
            <a:r>
              <a:rPr lang="de-DE" sz="2000" b="0" i="1" cap="none" dirty="0"/>
              <a:t> fit hat große Fortschritte in der Entwicklung gemacht!</a:t>
            </a:r>
          </a:p>
        </p:txBody>
      </p:sp>
      <p:grpSp>
        <p:nvGrpSpPr>
          <p:cNvPr id="68" name="Group 67">
            <a:extLst>
              <a:ext uri="{FF2B5EF4-FFF2-40B4-BE49-F238E27FC236}">
                <a16:creationId xmlns:a16="http://schemas.microsoft.com/office/drawing/2014/main" id="{96B91887-DA4E-45E3-9AC4-BE15CC4F96ED}"/>
              </a:ext>
            </a:extLst>
          </p:cNvPr>
          <p:cNvGrpSpPr/>
          <p:nvPr/>
        </p:nvGrpSpPr>
        <p:grpSpPr>
          <a:xfrm>
            <a:off x="852694" y="1832893"/>
            <a:ext cx="10486613" cy="4035364"/>
            <a:chOff x="1346157" y="1672470"/>
            <a:chExt cx="10486613" cy="4035364"/>
          </a:xfrm>
        </p:grpSpPr>
        <p:grpSp>
          <p:nvGrpSpPr>
            <p:cNvPr id="64" name="Group 63">
              <a:extLst>
                <a:ext uri="{FF2B5EF4-FFF2-40B4-BE49-F238E27FC236}">
                  <a16:creationId xmlns:a16="http://schemas.microsoft.com/office/drawing/2014/main" id="{457BBDF5-FC1F-462B-93BE-0D48DEB32E71}"/>
                </a:ext>
              </a:extLst>
            </p:cNvPr>
            <p:cNvGrpSpPr/>
            <p:nvPr/>
          </p:nvGrpSpPr>
          <p:grpSpPr>
            <a:xfrm>
              <a:off x="1346157" y="3150152"/>
              <a:ext cx="5040000" cy="1080000"/>
              <a:chOff x="375384" y="3150152"/>
              <a:chExt cx="5040000" cy="1080000"/>
            </a:xfrm>
          </p:grpSpPr>
          <p:sp>
            <p:nvSpPr>
              <p:cNvPr id="7" name="Rectangle 6">
                <a:extLst>
                  <a:ext uri="{FF2B5EF4-FFF2-40B4-BE49-F238E27FC236}">
                    <a16:creationId xmlns:a16="http://schemas.microsoft.com/office/drawing/2014/main" id="{4B73E264-0526-47CD-817F-786FAE72C077}"/>
                  </a:ext>
                </a:extLst>
              </p:cNvPr>
              <p:cNvSpPr/>
              <p:nvPr/>
            </p:nvSpPr>
            <p:spPr>
              <a:xfrm>
                <a:off x="375384" y="3150152"/>
                <a:ext cx="5040000" cy="1080000"/>
              </a:xfrm>
              <a:prstGeom prst="rect">
                <a:avLst/>
              </a:prstGeom>
              <a:solidFill>
                <a:schemeClr val="accent2"/>
              </a:solidFill>
            </p:spPr>
            <p:txBody>
              <a:bodyPr wrap="square" lIns="274320" tIns="72000" rIns="72000" bIns="72000" anchor="ctr" anchorCtr="0">
                <a:noAutofit/>
              </a:bodyPr>
              <a:lstStyle/>
              <a:p>
                <a:pPr>
                  <a:lnSpc>
                    <a:spcPct val="90000"/>
                  </a:lnSpc>
                  <a:defRPr/>
                </a:pPr>
                <a:r>
                  <a:rPr lang="de-DE" sz="1600" b="1">
                    <a:solidFill>
                      <a:schemeClr val="bg1"/>
                    </a:solidFill>
                    <a:latin typeface="Arial Black" panose="020B0A04020102020204" pitchFamily="34" charset="0"/>
                  </a:rPr>
                  <a:t>“Profil ändern” implementiert</a:t>
                </a:r>
              </a:p>
            </p:txBody>
          </p:sp>
          <p:grpSp>
            <p:nvGrpSpPr>
              <p:cNvPr id="14" name="Group 89">
                <a:extLst>
                  <a:ext uri="{FF2B5EF4-FFF2-40B4-BE49-F238E27FC236}">
                    <a16:creationId xmlns:a16="http://schemas.microsoft.com/office/drawing/2014/main" id="{8E7DBD75-F225-406B-8361-F8326DDA3511}"/>
                  </a:ext>
                </a:extLst>
              </p:cNvPr>
              <p:cNvGrpSpPr>
                <a:grpSpLocks noChangeAspect="1"/>
              </p:cNvGrpSpPr>
              <p:nvPr/>
            </p:nvGrpSpPr>
            <p:grpSpPr bwMode="auto">
              <a:xfrm>
                <a:off x="4583924" y="3432582"/>
                <a:ext cx="529516" cy="515140"/>
                <a:chOff x="2584" y="1942"/>
                <a:chExt cx="442" cy="430"/>
              </a:xfrm>
              <a:solidFill>
                <a:schemeClr val="bg1"/>
              </a:solidFill>
            </p:grpSpPr>
            <p:sp>
              <p:nvSpPr>
                <p:cNvPr id="15" name="Freeform 90">
                  <a:extLst>
                    <a:ext uri="{FF2B5EF4-FFF2-40B4-BE49-F238E27FC236}">
                      <a16:creationId xmlns:a16="http://schemas.microsoft.com/office/drawing/2014/main" id="{64AF9F2F-9144-4AC0-AF48-8AFEE19D60F5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2822" y="2173"/>
                  <a:ext cx="204" cy="199"/>
                </a:xfrm>
                <a:custGeom>
                  <a:avLst/>
                  <a:gdLst>
                    <a:gd name="T0" fmla="*/ 6 w 133"/>
                    <a:gd name="T1" fmla="*/ 133 h 133"/>
                    <a:gd name="T2" fmla="*/ 2 w 133"/>
                    <a:gd name="T3" fmla="*/ 131 h 133"/>
                    <a:gd name="T4" fmla="*/ 0 w 133"/>
                    <a:gd name="T5" fmla="*/ 125 h 133"/>
                    <a:gd name="T6" fmla="*/ 12 w 133"/>
                    <a:gd name="T7" fmla="*/ 83 h 133"/>
                    <a:gd name="T8" fmla="*/ 14 w 133"/>
                    <a:gd name="T9" fmla="*/ 81 h 133"/>
                    <a:gd name="T10" fmla="*/ 92 w 133"/>
                    <a:gd name="T11" fmla="*/ 3 h 133"/>
                    <a:gd name="T12" fmla="*/ 100 w 133"/>
                    <a:gd name="T13" fmla="*/ 3 h 133"/>
                    <a:gd name="T14" fmla="*/ 130 w 133"/>
                    <a:gd name="T15" fmla="*/ 33 h 133"/>
                    <a:gd name="T16" fmla="*/ 130 w 133"/>
                    <a:gd name="T17" fmla="*/ 41 h 133"/>
                    <a:gd name="T18" fmla="*/ 52 w 133"/>
                    <a:gd name="T19" fmla="*/ 119 h 133"/>
                    <a:gd name="T20" fmla="*/ 50 w 133"/>
                    <a:gd name="T21" fmla="*/ 121 h 133"/>
                    <a:gd name="T22" fmla="*/ 8 w 133"/>
                    <a:gd name="T23" fmla="*/ 133 h 133"/>
                    <a:gd name="T24" fmla="*/ 6 w 133"/>
                    <a:gd name="T25" fmla="*/ 133 h 133"/>
                    <a:gd name="T26" fmla="*/ 23 w 133"/>
                    <a:gd name="T27" fmla="*/ 88 h 133"/>
                    <a:gd name="T28" fmla="*/ 15 w 133"/>
                    <a:gd name="T29" fmla="*/ 118 h 133"/>
                    <a:gd name="T30" fmla="*/ 45 w 133"/>
                    <a:gd name="T31" fmla="*/ 109 h 133"/>
                    <a:gd name="T32" fmla="*/ 118 w 133"/>
                    <a:gd name="T33" fmla="*/ 37 h 133"/>
                    <a:gd name="T34" fmla="*/ 96 w 133"/>
                    <a:gd name="T35" fmla="*/ 15 h 133"/>
                    <a:gd name="T36" fmla="*/ 23 w 133"/>
                    <a:gd name="T37" fmla="*/ 88 h 133"/>
                    <a:gd name="T38" fmla="*/ 48 w 133"/>
                    <a:gd name="T39" fmla="*/ 115 h 133"/>
                    <a:gd name="T40" fmla="*/ 48 w 133"/>
                    <a:gd name="T41" fmla="*/ 115 h 13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</a:cxnLst>
                  <a:rect l="0" t="0" r="r" b="b"/>
                  <a:pathLst>
                    <a:path w="133" h="133">
                      <a:moveTo>
                        <a:pt x="6" y="133"/>
                      </a:moveTo>
                      <a:cubicBezTo>
                        <a:pt x="4" y="133"/>
                        <a:pt x="3" y="132"/>
                        <a:pt x="2" y="131"/>
                      </a:cubicBezTo>
                      <a:cubicBezTo>
                        <a:pt x="0" y="130"/>
                        <a:pt x="0" y="127"/>
                        <a:pt x="0" y="125"/>
                      </a:cubicBezTo>
                      <a:cubicBezTo>
                        <a:pt x="12" y="83"/>
                        <a:pt x="12" y="83"/>
                        <a:pt x="12" y="83"/>
                      </a:cubicBezTo>
                      <a:cubicBezTo>
                        <a:pt x="13" y="82"/>
                        <a:pt x="13" y="81"/>
                        <a:pt x="14" y="81"/>
                      </a:cubicBezTo>
                      <a:cubicBezTo>
                        <a:pt x="92" y="3"/>
                        <a:pt x="92" y="3"/>
                        <a:pt x="92" y="3"/>
                      </a:cubicBezTo>
                      <a:cubicBezTo>
                        <a:pt x="94" y="0"/>
                        <a:pt x="98" y="0"/>
                        <a:pt x="100" y="3"/>
                      </a:cubicBezTo>
                      <a:cubicBezTo>
                        <a:pt x="130" y="33"/>
                        <a:pt x="130" y="33"/>
                        <a:pt x="130" y="33"/>
                      </a:cubicBezTo>
                      <a:cubicBezTo>
                        <a:pt x="133" y="35"/>
                        <a:pt x="133" y="39"/>
                        <a:pt x="130" y="41"/>
                      </a:cubicBezTo>
                      <a:cubicBezTo>
                        <a:pt x="52" y="119"/>
                        <a:pt x="52" y="119"/>
                        <a:pt x="52" y="119"/>
                      </a:cubicBezTo>
                      <a:cubicBezTo>
                        <a:pt x="52" y="120"/>
                        <a:pt x="51" y="120"/>
                        <a:pt x="50" y="121"/>
                      </a:cubicBezTo>
                      <a:cubicBezTo>
                        <a:pt x="8" y="133"/>
                        <a:pt x="8" y="133"/>
                        <a:pt x="8" y="133"/>
                      </a:cubicBezTo>
                      <a:cubicBezTo>
                        <a:pt x="7" y="133"/>
                        <a:pt x="7" y="133"/>
                        <a:pt x="6" y="133"/>
                      </a:cubicBezTo>
                      <a:close/>
                      <a:moveTo>
                        <a:pt x="23" y="88"/>
                      </a:moveTo>
                      <a:cubicBezTo>
                        <a:pt x="15" y="118"/>
                        <a:pt x="15" y="118"/>
                        <a:pt x="15" y="118"/>
                      </a:cubicBezTo>
                      <a:cubicBezTo>
                        <a:pt x="45" y="109"/>
                        <a:pt x="45" y="109"/>
                        <a:pt x="45" y="109"/>
                      </a:cubicBezTo>
                      <a:cubicBezTo>
                        <a:pt x="118" y="37"/>
                        <a:pt x="118" y="37"/>
                        <a:pt x="118" y="37"/>
                      </a:cubicBezTo>
                      <a:cubicBezTo>
                        <a:pt x="96" y="15"/>
                        <a:pt x="96" y="15"/>
                        <a:pt x="96" y="15"/>
                      </a:cubicBezTo>
                      <a:lnTo>
                        <a:pt x="23" y="88"/>
                      </a:lnTo>
                      <a:close/>
                      <a:moveTo>
                        <a:pt x="48" y="115"/>
                      </a:moveTo>
                      <a:cubicBezTo>
                        <a:pt x="48" y="115"/>
                        <a:pt x="48" y="115"/>
                        <a:pt x="48" y="115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" name="Freeform 91">
                  <a:extLst>
                    <a:ext uri="{FF2B5EF4-FFF2-40B4-BE49-F238E27FC236}">
                      <a16:creationId xmlns:a16="http://schemas.microsoft.com/office/drawing/2014/main" id="{A0635EA1-0BEB-4AD0-925D-08649DB7FE9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926" y="2213"/>
                  <a:ext cx="58" cy="57"/>
                </a:xfrm>
                <a:custGeom>
                  <a:avLst/>
                  <a:gdLst>
                    <a:gd name="T0" fmla="*/ 46 w 58"/>
                    <a:gd name="T1" fmla="*/ 57 h 57"/>
                    <a:gd name="T2" fmla="*/ 0 w 58"/>
                    <a:gd name="T3" fmla="*/ 12 h 57"/>
                    <a:gd name="T4" fmla="*/ 13 w 58"/>
                    <a:gd name="T5" fmla="*/ 0 h 57"/>
                    <a:gd name="T6" fmla="*/ 58 w 58"/>
                    <a:gd name="T7" fmla="*/ 45 h 57"/>
                    <a:gd name="T8" fmla="*/ 46 w 58"/>
                    <a:gd name="T9" fmla="*/ 57 h 5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58" h="57">
                      <a:moveTo>
                        <a:pt x="46" y="57"/>
                      </a:moveTo>
                      <a:lnTo>
                        <a:pt x="0" y="12"/>
                      </a:lnTo>
                      <a:lnTo>
                        <a:pt x="13" y="0"/>
                      </a:lnTo>
                      <a:lnTo>
                        <a:pt x="58" y="45"/>
                      </a:lnTo>
                      <a:lnTo>
                        <a:pt x="46" y="57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" name="Freeform 92">
                  <a:extLst>
                    <a:ext uri="{FF2B5EF4-FFF2-40B4-BE49-F238E27FC236}">
                      <a16:creationId xmlns:a16="http://schemas.microsoft.com/office/drawing/2014/main" id="{14C29547-9646-4E4B-8ADD-144DA2BB892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839" y="2290"/>
                  <a:ext cx="67" cy="64"/>
                </a:xfrm>
                <a:custGeom>
                  <a:avLst/>
                  <a:gdLst>
                    <a:gd name="T0" fmla="*/ 37 w 44"/>
                    <a:gd name="T1" fmla="*/ 43 h 43"/>
                    <a:gd name="T2" fmla="*/ 33 w 44"/>
                    <a:gd name="T3" fmla="*/ 41 h 43"/>
                    <a:gd name="T4" fmla="*/ 3 w 44"/>
                    <a:gd name="T5" fmla="*/ 11 h 43"/>
                    <a:gd name="T6" fmla="*/ 3 w 44"/>
                    <a:gd name="T7" fmla="*/ 3 h 43"/>
                    <a:gd name="T8" fmla="*/ 11 w 44"/>
                    <a:gd name="T9" fmla="*/ 3 h 43"/>
                    <a:gd name="T10" fmla="*/ 41 w 44"/>
                    <a:gd name="T11" fmla="*/ 33 h 43"/>
                    <a:gd name="T12" fmla="*/ 41 w 44"/>
                    <a:gd name="T13" fmla="*/ 41 h 43"/>
                    <a:gd name="T14" fmla="*/ 37 w 44"/>
                    <a:gd name="T15" fmla="*/ 43 h 4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44" h="43">
                      <a:moveTo>
                        <a:pt x="37" y="43"/>
                      </a:moveTo>
                      <a:cubicBezTo>
                        <a:pt x="36" y="43"/>
                        <a:pt x="34" y="42"/>
                        <a:pt x="33" y="41"/>
                      </a:cubicBezTo>
                      <a:cubicBezTo>
                        <a:pt x="3" y="11"/>
                        <a:pt x="3" y="11"/>
                        <a:pt x="3" y="11"/>
                      </a:cubicBezTo>
                      <a:cubicBezTo>
                        <a:pt x="0" y="9"/>
                        <a:pt x="0" y="5"/>
                        <a:pt x="3" y="3"/>
                      </a:cubicBezTo>
                      <a:cubicBezTo>
                        <a:pt x="5" y="0"/>
                        <a:pt x="9" y="0"/>
                        <a:pt x="11" y="3"/>
                      </a:cubicBezTo>
                      <a:cubicBezTo>
                        <a:pt x="41" y="33"/>
                        <a:pt x="41" y="33"/>
                        <a:pt x="41" y="33"/>
                      </a:cubicBezTo>
                      <a:cubicBezTo>
                        <a:pt x="44" y="35"/>
                        <a:pt x="44" y="39"/>
                        <a:pt x="41" y="41"/>
                      </a:cubicBezTo>
                      <a:cubicBezTo>
                        <a:pt x="40" y="42"/>
                        <a:pt x="39" y="43"/>
                        <a:pt x="37" y="43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" name="Freeform 93">
                  <a:extLst>
                    <a:ext uri="{FF2B5EF4-FFF2-40B4-BE49-F238E27FC236}">
                      <a16:creationId xmlns:a16="http://schemas.microsoft.com/office/drawing/2014/main" id="{3FB8F62C-A2E8-4F47-B75A-B9221222D60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584" y="1942"/>
                  <a:ext cx="304" cy="358"/>
                </a:xfrm>
                <a:custGeom>
                  <a:avLst/>
                  <a:gdLst>
                    <a:gd name="T0" fmla="*/ 132 w 199"/>
                    <a:gd name="T1" fmla="*/ 239 h 239"/>
                    <a:gd name="T2" fmla="*/ 6 w 199"/>
                    <a:gd name="T3" fmla="*/ 239 h 239"/>
                    <a:gd name="T4" fmla="*/ 2 w 199"/>
                    <a:gd name="T5" fmla="*/ 237 h 239"/>
                    <a:gd name="T6" fmla="*/ 0 w 199"/>
                    <a:gd name="T7" fmla="*/ 233 h 239"/>
                    <a:gd name="T8" fmla="*/ 7 w 199"/>
                    <a:gd name="T9" fmla="*/ 183 h 239"/>
                    <a:gd name="T10" fmla="*/ 59 w 199"/>
                    <a:gd name="T11" fmla="*/ 154 h 239"/>
                    <a:gd name="T12" fmla="*/ 84 w 199"/>
                    <a:gd name="T13" fmla="*/ 145 h 239"/>
                    <a:gd name="T14" fmla="*/ 84 w 199"/>
                    <a:gd name="T15" fmla="*/ 122 h 239"/>
                    <a:gd name="T16" fmla="*/ 66 w 199"/>
                    <a:gd name="T17" fmla="*/ 86 h 239"/>
                    <a:gd name="T18" fmla="*/ 62 w 199"/>
                    <a:gd name="T19" fmla="*/ 71 h 239"/>
                    <a:gd name="T20" fmla="*/ 63 w 199"/>
                    <a:gd name="T21" fmla="*/ 61 h 239"/>
                    <a:gd name="T22" fmla="*/ 65 w 199"/>
                    <a:gd name="T23" fmla="*/ 56 h 239"/>
                    <a:gd name="T24" fmla="*/ 65 w 199"/>
                    <a:gd name="T25" fmla="*/ 56 h 239"/>
                    <a:gd name="T26" fmla="*/ 66 w 199"/>
                    <a:gd name="T27" fmla="*/ 21 h 239"/>
                    <a:gd name="T28" fmla="*/ 81 w 199"/>
                    <a:gd name="T29" fmla="*/ 16 h 239"/>
                    <a:gd name="T30" fmla="*/ 124 w 199"/>
                    <a:gd name="T31" fmla="*/ 0 h 239"/>
                    <a:gd name="T32" fmla="*/ 124 w 199"/>
                    <a:gd name="T33" fmla="*/ 0 h 239"/>
                    <a:gd name="T34" fmla="*/ 169 w 199"/>
                    <a:gd name="T35" fmla="*/ 21 h 239"/>
                    <a:gd name="T36" fmla="*/ 164 w 199"/>
                    <a:gd name="T37" fmla="*/ 54 h 239"/>
                    <a:gd name="T38" fmla="*/ 171 w 199"/>
                    <a:gd name="T39" fmla="*/ 70 h 239"/>
                    <a:gd name="T40" fmla="*/ 168 w 199"/>
                    <a:gd name="T41" fmla="*/ 82 h 239"/>
                    <a:gd name="T42" fmla="*/ 162 w 199"/>
                    <a:gd name="T43" fmla="*/ 88 h 239"/>
                    <a:gd name="T44" fmla="*/ 144 w 199"/>
                    <a:gd name="T45" fmla="*/ 122 h 239"/>
                    <a:gd name="T46" fmla="*/ 144 w 199"/>
                    <a:gd name="T47" fmla="*/ 145 h 239"/>
                    <a:gd name="T48" fmla="*/ 174 w 199"/>
                    <a:gd name="T49" fmla="*/ 157 h 239"/>
                    <a:gd name="T50" fmla="*/ 199 w 199"/>
                    <a:gd name="T51" fmla="*/ 167 h 239"/>
                    <a:gd name="T52" fmla="*/ 195 w 199"/>
                    <a:gd name="T53" fmla="*/ 179 h 239"/>
                    <a:gd name="T54" fmla="*/ 169 w 199"/>
                    <a:gd name="T55" fmla="*/ 168 h 239"/>
                    <a:gd name="T56" fmla="*/ 136 w 199"/>
                    <a:gd name="T57" fmla="*/ 155 h 239"/>
                    <a:gd name="T58" fmla="*/ 132 w 199"/>
                    <a:gd name="T59" fmla="*/ 149 h 239"/>
                    <a:gd name="T60" fmla="*/ 132 w 199"/>
                    <a:gd name="T61" fmla="*/ 119 h 239"/>
                    <a:gd name="T62" fmla="*/ 136 w 199"/>
                    <a:gd name="T63" fmla="*/ 113 h 239"/>
                    <a:gd name="T64" fmla="*/ 150 w 199"/>
                    <a:gd name="T65" fmla="*/ 83 h 239"/>
                    <a:gd name="T66" fmla="*/ 156 w 199"/>
                    <a:gd name="T67" fmla="*/ 77 h 239"/>
                    <a:gd name="T68" fmla="*/ 159 w 199"/>
                    <a:gd name="T69" fmla="*/ 70 h 239"/>
                    <a:gd name="T70" fmla="*/ 156 w 199"/>
                    <a:gd name="T71" fmla="*/ 64 h 239"/>
                    <a:gd name="T72" fmla="*/ 150 w 199"/>
                    <a:gd name="T73" fmla="*/ 58 h 239"/>
                    <a:gd name="T74" fmla="*/ 152 w 199"/>
                    <a:gd name="T75" fmla="*/ 51 h 239"/>
                    <a:gd name="T76" fmla="*/ 157 w 199"/>
                    <a:gd name="T77" fmla="*/ 24 h 239"/>
                    <a:gd name="T78" fmla="*/ 124 w 199"/>
                    <a:gd name="T79" fmla="*/ 12 h 239"/>
                    <a:gd name="T80" fmla="*/ 124 w 199"/>
                    <a:gd name="T81" fmla="*/ 12 h 239"/>
                    <a:gd name="T82" fmla="*/ 90 w 199"/>
                    <a:gd name="T83" fmla="*/ 24 h 239"/>
                    <a:gd name="T84" fmla="*/ 83 w 199"/>
                    <a:gd name="T85" fmla="*/ 29 h 239"/>
                    <a:gd name="T86" fmla="*/ 75 w 199"/>
                    <a:gd name="T87" fmla="*/ 29 h 239"/>
                    <a:gd name="T88" fmla="*/ 77 w 199"/>
                    <a:gd name="T89" fmla="*/ 53 h 239"/>
                    <a:gd name="T90" fmla="*/ 78 w 199"/>
                    <a:gd name="T91" fmla="*/ 59 h 239"/>
                    <a:gd name="T92" fmla="*/ 74 w 199"/>
                    <a:gd name="T93" fmla="*/ 64 h 239"/>
                    <a:gd name="T94" fmla="*/ 74 w 199"/>
                    <a:gd name="T95" fmla="*/ 77 h 239"/>
                    <a:gd name="T96" fmla="*/ 78 w 199"/>
                    <a:gd name="T97" fmla="*/ 83 h 239"/>
                    <a:gd name="T98" fmla="*/ 92 w 199"/>
                    <a:gd name="T99" fmla="*/ 113 h 239"/>
                    <a:gd name="T100" fmla="*/ 96 w 199"/>
                    <a:gd name="T101" fmla="*/ 119 h 239"/>
                    <a:gd name="T102" fmla="*/ 96 w 199"/>
                    <a:gd name="T103" fmla="*/ 149 h 239"/>
                    <a:gd name="T104" fmla="*/ 92 w 199"/>
                    <a:gd name="T105" fmla="*/ 154 h 239"/>
                    <a:gd name="T106" fmla="*/ 63 w 199"/>
                    <a:gd name="T107" fmla="*/ 165 h 239"/>
                    <a:gd name="T108" fmla="*/ 19 w 199"/>
                    <a:gd name="T109" fmla="*/ 187 h 239"/>
                    <a:gd name="T110" fmla="*/ 12 w 199"/>
                    <a:gd name="T111" fmla="*/ 227 h 239"/>
                    <a:gd name="T112" fmla="*/ 132 w 199"/>
                    <a:gd name="T113" fmla="*/ 227 h 239"/>
                    <a:gd name="T114" fmla="*/ 132 w 199"/>
                    <a:gd name="T115" fmla="*/ 239 h 23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</a:cxnLst>
                  <a:rect l="0" t="0" r="r" b="b"/>
                  <a:pathLst>
                    <a:path w="199" h="239">
                      <a:moveTo>
                        <a:pt x="132" y="239"/>
                      </a:moveTo>
                      <a:cubicBezTo>
                        <a:pt x="6" y="239"/>
                        <a:pt x="6" y="239"/>
                        <a:pt x="6" y="239"/>
                      </a:cubicBezTo>
                      <a:cubicBezTo>
                        <a:pt x="4" y="239"/>
                        <a:pt x="3" y="239"/>
                        <a:pt x="2" y="237"/>
                      </a:cubicBezTo>
                      <a:cubicBezTo>
                        <a:pt x="1" y="236"/>
                        <a:pt x="0" y="235"/>
                        <a:pt x="0" y="233"/>
                      </a:cubicBezTo>
                      <a:cubicBezTo>
                        <a:pt x="0" y="232"/>
                        <a:pt x="1" y="201"/>
                        <a:pt x="7" y="183"/>
                      </a:cubicBezTo>
                      <a:cubicBezTo>
                        <a:pt x="12" y="170"/>
                        <a:pt x="33" y="162"/>
                        <a:pt x="59" y="154"/>
                      </a:cubicBezTo>
                      <a:cubicBezTo>
                        <a:pt x="67" y="151"/>
                        <a:pt x="76" y="148"/>
                        <a:pt x="84" y="145"/>
                      </a:cubicBezTo>
                      <a:cubicBezTo>
                        <a:pt x="84" y="122"/>
                        <a:pt x="84" y="122"/>
                        <a:pt x="84" y="122"/>
                      </a:cubicBezTo>
                      <a:cubicBezTo>
                        <a:pt x="78" y="118"/>
                        <a:pt x="67" y="108"/>
                        <a:pt x="66" y="86"/>
                      </a:cubicBezTo>
                      <a:cubicBezTo>
                        <a:pt x="63" y="84"/>
                        <a:pt x="62" y="78"/>
                        <a:pt x="62" y="71"/>
                      </a:cubicBezTo>
                      <a:cubicBezTo>
                        <a:pt x="62" y="67"/>
                        <a:pt x="62" y="63"/>
                        <a:pt x="63" y="61"/>
                      </a:cubicBezTo>
                      <a:cubicBezTo>
                        <a:pt x="64" y="59"/>
                        <a:pt x="64" y="57"/>
                        <a:pt x="65" y="56"/>
                      </a:cubicBezTo>
                      <a:cubicBezTo>
                        <a:pt x="65" y="56"/>
                        <a:pt x="65" y="56"/>
                        <a:pt x="65" y="56"/>
                      </a:cubicBezTo>
                      <a:cubicBezTo>
                        <a:pt x="63" y="47"/>
                        <a:pt x="58" y="30"/>
                        <a:pt x="66" y="21"/>
                      </a:cubicBezTo>
                      <a:cubicBezTo>
                        <a:pt x="70" y="18"/>
                        <a:pt x="75" y="16"/>
                        <a:pt x="81" y="16"/>
                      </a:cubicBezTo>
                      <a:cubicBezTo>
                        <a:pt x="88" y="4"/>
                        <a:pt x="107" y="0"/>
                        <a:pt x="124" y="0"/>
                      </a:cubicBezTo>
                      <a:cubicBezTo>
                        <a:pt x="124" y="0"/>
                        <a:pt x="124" y="0"/>
                        <a:pt x="124" y="0"/>
                      </a:cubicBezTo>
                      <a:cubicBezTo>
                        <a:pt x="142" y="0"/>
                        <a:pt x="165" y="5"/>
                        <a:pt x="169" y="21"/>
                      </a:cubicBezTo>
                      <a:cubicBezTo>
                        <a:pt x="172" y="34"/>
                        <a:pt x="167" y="47"/>
                        <a:pt x="164" y="54"/>
                      </a:cubicBezTo>
                      <a:cubicBezTo>
                        <a:pt x="168" y="57"/>
                        <a:pt x="171" y="63"/>
                        <a:pt x="171" y="70"/>
                      </a:cubicBezTo>
                      <a:cubicBezTo>
                        <a:pt x="171" y="75"/>
                        <a:pt x="170" y="79"/>
                        <a:pt x="168" y="82"/>
                      </a:cubicBezTo>
                      <a:cubicBezTo>
                        <a:pt x="166" y="85"/>
                        <a:pt x="164" y="86"/>
                        <a:pt x="162" y="88"/>
                      </a:cubicBezTo>
                      <a:cubicBezTo>
                        <a:pt x="160" y="109"/>
                        <a:pt x="150" y="118"/>
                        <a:pt x="144" y="122"/>
                      </a:cubicBezTo>
                      <a:cubicBezTo>
                        <a:pt x="144" y="145"/>
                        <a:pt x="144" y="145"/>
                        <a:pt x="144" y="145"/>
                      </a:cubicBezTo>
                      <a:cubicBezTo>
                        <a:pt x="152" y="147"/>
                        <a:pt x="163" y="152"/>
                        <a:pt x="174" y="157"/>
                      </a:cubicBezTo>
                      <a:cubicBezTo>
                        <a:pt x="185" y="161"/>
                        <a:pt x="195" y="166"/>
                        <a:pt x="199" y="167"/>
                      </a:cubicBezTo>
                      <a:cubicBezTo>
                        <a:pt x="195" y="179"/>
                        <a:pt x="195" y="179"/>
                        <a:pt x="195" y="179"/>
                      </a:cubicBezTo>
                      <a:cubicBezTo>
                        <a:pt x="191" y="177"/>
                        <a:pt x="181" y="173"/>
                        <a:pt x="169" y="168"/>
                      </a:cubicBezTo>
                      <a:cubicBezTo>
                        <a:pt x="157" y="163"/>
                        <a:pt x="142" y="157"/>
                        <a:pt x="136" y="155"/>
                      </a:cubicBezTo>
                      <a:cubicBezTo>
                        <a:pt x="134" y="154"/>
                        <a:pt x="132" y="151"/>
                        <a:pt x="132" y="149"/>
                      </a:cubicBezTo>
                      <a:cubicBezTo>
                        <a:pt x="132" y="119"/>
                        <a:pt x="132" y="119"/>
                        <a:pt x="132" y="119"/>
                      </a:cubicBezTo>
                      <a:cubicBezTo>
                        <a:pt x="132" y="116"/>
                        <a:pt x="134" y="114"/>
                        <a:pt x="136" y="113"/>
                      </a:cubicBezTo>
                      <a:cubicBezTo>
                        <a:pt x="136" y="113"/>
                        <a:pt x="150" y="107"/>
                        <a:pt x="150" y="83"/>
                      </a:cubicBezTo>
                      <a:cubicBezTo>
                        <a:pt x="150" y="79"/>
                        <a:pt x="153" y="77"/>
                        <a:pt x="156" y="77"/>
                      </a:cubicBezTo>
                      <a:cubicBezTo>
                        <a:pt x="158" y="77"/>
                        <a:pt x="159" y="73"/>
                        <a:pt x="159" y="70"/>
                      </a:cubicBezTo>
                      <a:cubicBezTo>
                        <a:pt x="159" y="68"/>
                        <a:pt x="158" y="64"/>
                        <a:pt x="156" y="64"/>
                      </a:cubicBezTo>
                      <a:cubicBezTo>
                        <a:pt x="153" y="64"/>
                        <a:pt x="150" y="61"/>
                        <a:pt x="150" y="58"/>
                      </a:cubicBezTo>
                      <a:cubicBezTo>
                        <a:pt x="150" y="56"/>
                        <a:pt x="151" y="54"/>
                        <a:pt x="152" y="51"/>
                      </a:cubicBezTo>
                      <a:cubicBezTo>
                        <a:pt x="155" y="45"/>
                        <a:pt x="159" y="34"/>
                        <a:pt x="157" y="24"/>
                      </a:cubicBezTo>
                      <a:cubicBezTo>
                        <a:pt x="155" y="17"/>
                        <a:pt x="141" y="12"/>
                        <a:pt x="124" y="12"/>
                      </a:cubicBezTo>
                      <a:cubicBezTo>
                        <a:pt x="124" y="12"/>
                        <a:pt x="124" y="12"/>
                        <a:pt x="124" y="12"/>
                      </a:cubicBezTo>
                      <a:cubicBezTo>
                        <a:pt x="106" y="12"/>
                        <a:pt x="92" y="17"/>
                        <a:pt x="90" y="24"/>
                      </a:cubicBezTo>
                      <a:cubicBezTo>
                        <a:pt x="90" y="27"/>
                        <a:pt x="86" y="29"/>
                        <a:pt x="83" y="29"/>
                      </a:cubicBezTo>
                      <a:cubicBezTo>
                        <a:pt x="81" y="28"/>
                        <a:pt x="77" y="28"/>
                        <a:pt x="75" y="29"/>
                      </a:cubicBezTo>
                      <a:cubicBezTo>
                        <a:pt x="71" y="33"/>
                        <a:pt x="75" y="48"/>
                        <a:pt x="77" y="53"/>
                      </a:cubicBezTo>
                      <a:cubicBezTo>
                        <a:pt x="78" y="56"/>
                        <a:pt x="78" y="57"/>
                        <a:pt x="78" y="59"/>
                      </a:cubicBezTo>
                      <a:cubicBezTo>
                        <a:pt x="78" y="61"/>
                        <a:pt x="77" y="63"/>
                        <a:pt x="74" y="64"/>
                      </a:cubicBezTo>
                      <a:cubicBezTo>
                        <a:pt x="73" y="67"/>
                        <a:pt x="73" y="74"/>
                        <a:pt x="74" y="77"/>
                      </a:cubicBezTo>
                      <a:cubicBezTo>
                        <a:pt x="77" y="78"/>
                        <a:pt x="78" y="80"/>
                        <a:pt x="78" y="83"/>
                      </a:cubicBezTo>
                      <a:cubicBezTo>
                        <a:pt x="78" y="107"/>
                        <a:pt x="92" y="113"/>
                        <a:pt x="92" y="113"/>
                      </a:cubicBezTo>
                      <a:cubicBezTo>
                        <a:pt x="95" y="114"/>
                        <a:pt x="96" y="116"/>
                        <a:pt x="96" y="119"/>
                      </a:cubicBezTo>
                      <a:cubicBezTo>
                        <a:pt x="96" y="149"/>
                        <a:pt x="96" y="149"/>
                        <a:pt x="96" y="149"/>
                      </a:cubicBezTo>
                      <a:cubicBezTo>
                        <a:pt x="96" y="151"/>
                        <a:pt x="95" y="153"/>
                        <a:pt x="92" y="154"/>
                      </a:cubicBezTo>
                      <a:cubicBezTo>
                        <a:pt x="83" y="158"/>
                        <a:pt x="73" y="162"/>
                        <a:pt x="63" y="165"/>
                      </a:cubicBezTo>
                      <a:cubicBezTo>
                        <a:pt x="44" y="171"/>
                        <a:pt x="21" y="179"/>
                        <a:pt x="19" y="187"/>
                      </a:cubicBezTo>
                      <a:cubicBezTo>
                        <a:pt x="15" y="198"/>
                        <a:pt x="13" y="217"/>
                        <a:pt x="12" y="227"/>
                      </a:cubicBezTo>
                      <a:cubicBezTo>
                        <a:pt x="132" y="227"/>
                        <a:pt x="132" y="227"/>
                        <a:pt x="132" y="227"/>
                      </a:cubicBezTo>
                      <a:lnTo>
                        <a:pt x="132" y="23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</p:grpSp>
        </p:grpSp>
        <p:grpSp>
          <p:nvGrpSpPr>
            <p:cNvPr id="62" name="Group 61">
              <a:extLst>
                <a:ext uri="{FF2B5EF4-FFF2-40B4-BE49-F238E27FC236}">
                  <a16:creationId xmlns:a16="http://schemas.microsoft.com/office/drawing/2014/main" id="{6926902F-7B41-4E03-959B-A2BEF2C103B1}"/>
                </a:ext>
              </a:extLst>
            </p:cNvPr>
            <p:cNvGrpSpPr/>
            <p:nvPr/>
          </p:nvGrpSpPr>
          <p:grpSpPr>
            <a:xfrm>
              <a:off x="1346157" y="1672470"/>
              <a:ext cx="5040000" cy="1080000"/>
              <a:chOff x="375384" y="1672470"/>
              <a:chExt cx="5040000" cy="1080000"/>
            </a:xfrm>
          </p:grpSpPr>
          <p:sp>
            <p:nvSpPr>
              <p:cNvPr id="5" name="Rectangle 4">
                <a:extLst>
                  <a:ext uri="{FF2B5EF4-FFF2-40B4-BE49-F238E27FC236}">
                    <a16:creationId xmlns:a16="http://schemas.microsoft.com/office/drawing/2014/main" id="{461D281F-4F6F-4A89-B20D-1FE1969B911D}"/>
                  </a:ext>
                </a:extLst>
              </p:cNvPr>
              <p:cNvSpPr/>
              <p:nvPr/>
            </p:nvSpPr>
            <p:spPr>
              <a:xfrm>
                <a:off x="375384" y="1672470"/>
                <a:ext cx="5040000" cy="1080000"/>
              </a:xfrm>
              <a:prstGeom prst="rect">
                <a:avLst/>
              </a:prstGeom>
              <a:solidFill>
                <a:schemeClr val="accent2"/>
              </a:solidFill>
            </p:spPr>
            <p:txBody>
              <a:bodyPr wrap="square" lIns="274320" tIns="72000" rIns="72000" bIns="72000" anchor="ctr" anchorCtr="0">
                <a:noAutofit/>
              </a:bodyPr>
              <a:lstStyle/>
              <a:p>
                <a:pPr>
                  <a:lnSpc>
                    <a:spcPct val="90000"/>
                  </a:lnSpc>
                  <a:defRPr/>
                </a:pPr>
                <a:r>
                  <a:rPr lang="de-DE" sz="1600" b="1">
                    <a:solidFill>
                      <a:schemeClr val="bg1"/>
                    </a:solidFill>
                    <a:latin typeface="Arial Black" panose="020B0A04020102020204" pitchFamily="34" charset="0"/>
                  </a:rPr>
                  <a:t>Allocator überarbeitet</a:t>
                </a:r>
              </a:p>
            </p:txBody>
          </p:sp>
          <p:grpSp>
            <p:nvGrpSpPr>
              <p:cNvPr id="19" name="Group 40">
                <a:extLst>
                  <a:ext uri="{FF2B5EF4-FFF2-40B4-BE49-F238E27FC236}">
                    <a16:creationId xmlns:a16="http://schemas.microsoft.com/office/drawing/2014/main" id="{D67A969B-D667-4AC8-8A70-0E63B538DCFC}"/>
                  </a:ext>
                </a:extLst>
              </p:cNvPr>
              <p:cNvGrpSpPr>
                <a:grpSpLocks noChangeAspect="1"/>
              </p:cNvGrpSpPr>
              <p:nvPr/>
            </p:nvGrpSpPr>
            <p:grpSpPr bwMode="auto">
              <a:xfrm>
                <a:off x="4583924" y="1986771"/>
                <a:ext cx="454585" cy="451399"/>
                <a:chOff x="5508" y="439"/>
                <a:chExt cx="428" cy="425"/>
              </a:xfrm>
              <a:solidFill>
                <a:schemeClr val="bg1"/>
              </a:solidFill>
            </p:grpSpPr>
            <p:sp>
              <p:nvSpPr>
                <p:cNvPr id="20" name="Freeform 41">
                  <a:extLst>
                    <a:ext uri="{FF2B5EF4-FFF2-40B4-BE49-F238E27FC236}">
                      <a16:creationId xmlns:a16="http://schemas.microsoft.com/office/drawing/2014/main" id="{0DED60E2-1025-40D7-8253-B63E1ABB641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508" y="473"/>
                  <a:ext cx="355" cy="391"/>
                </a:xfrm>
                <a:custGeom>
                  <a:avLst/>
                  <a:gdLst>
                    <a:gd name="T0" fmla="*/ 234 w 240"/>
                    <a:gd name="T1" fmla="*/ 264 h 264"/>
                    <a:gd name="T2" fmla="*/ 6 w 240"/>
                    <a:gd name="T3" fmla="*/ 264 h 264"/>
                    <a:gd name="T4" fmla="*/ 0 w 240"/>
                    <a:gd name="T5" fmla="*/ 258 h 264"/>
                    <a:gd name="T6" fmla="*/ 0 w 240"/>
                    <a:gd name="T7" fmla="*/ 6 h 264"/>
                    <a:gd name="T8" fmla="*/ 6 w 240"/>
                    <a:gd name="T9" fmla="*/ 0 h 264"/>
                    <a:gd name="T10" fmla="*/ 174 w 240"/>
                    <a:gd name="T11" fmla="*/ 0 h 264"/>
                    <a:gd name="T12" fmla="*/ 180 w 240"/>
                    <a:gd name="T13" fmla="*/ 6 h 264"/>
                    <a:gd name="T14" fmla="*/ 174 w 240"/>
                    <a:gd name="T15" fmla="*/ 12 h 264"/>
                    <a:gd name="T16" fmla="*/ 12 w 240"/>
                    <a:gd name="T17" fmla="*/ 12 h 264"/>
                    <a:gd name="T18" fmla="*/ 12 w 240"/>
                    <a:gd name="T19" fmla="*/ 252 h 264"/>
                    <a:gd name="T20" fmla="*/ 228 w 240"/>
                    <a:gd name="T21" fmla="*/ 252 h 264"/>
                    <a:gd name="T22" fmla="*/ 228 w 240"/>
                    <a:gd name="T23" fmla="*/ 114 h 264"/>
                    <a:gd name="T24" fmla="*/ 234 w 240"/>
                    <a:gd name="T25" fmla="*/ 108 h 264"/>
                    <a:gd name="T26" fmla="*/ 240 w 240"/>
                    <a:gd name="T27" fmla="*/ 114 h 264"/>
                    <a:gd name="T28" fmla="*/ 240 w 240"/>
                    <a:gd name="T29" fmla="*/ 258 h 264"/>
                    <a:gd name="T30" fmla="*/ 234 w 240"/>
                    <a:gd name="T31" fmla="*/ 264 h 26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</a:cxnLst>
                  <a:rect l="0" t="0" r="r" b="b"/>
                  <a:pathLst>
                    <a:path w="240" h="264">
                      <a:moveTo>
                        <a:pt x="234" y="264"/>
                      </a:moveTo>
                      <a:cubicBezTo>
                        <a:pt x="6" y="264"/>
                        <a:pt x="6" y="264"/>
                        <a:pt x="6" y="264"/>
                      </a:cubicBezTo>
                      <a:cubicBezTo>
                        <a:pt x="3" y="264"/>
                        <a:pt x="0" y="262"/>
                        <a:pt x="0" y="258"/>
                      </a:cubicBezTo>
                      <a:cubicBezTo>
                        <a:pt x="0" y="6"/>
                        <a:pt x="0" y="6"/>
                        <a:pt x="0" y="6"/>
                      </a:cubicBezTo>
                      <a:cubicBezTo>
                        <a:pt x="0" y="3"/>
                        <a:pt x="3" y="0"/>
                        <a:pt x="6" y="0"/>
                      </a:cubicBezTo>
                      <a:cubicBezTo>
                        <a:pt x="174" y="0"/>
                        <a:pt x="174" y="0"/>
                        <a:pt x="174" y="0"/>
                      </a:cubicBezTo>
                      <a:cubicBezTo>
                        <a:pt x="178" y="0"/>
                        <a:pt x="180" y="3"/>
                        <a:pt x="180" y="6"/>
                      </a:cubicBezTo>
                      <a:cubicBezTo>
                        <a:pt x="180" y="10"/>
                        <a:pt x="178" y="12"/>
                        <a:pt x="174" y="12"/>
                      </a:cubicBezTo>
                      <a:cubicBezTo>
                        <a:pt x="12" y="12"/>
                        <a:pt x="12" y="12"/>
                        <a:pt x="12" y="12"/>
                      </a:cubicBezTo>
                      <a:cubicBezTo>
                        <a:pt x="12" y="252"/>
                        <a:pt x="12" y="252"/>
                        <a:pt x="12" y="252"/>
                      </a:cubicBezTo>
                      <a:cubicBezTo>
                        <a:pt x="228" y="252"/>
                        <a:pt x="228" y="252"/>
                        <a:pt x="228" y="252"/>
                      </a:cubicBezTo>
                      <a:cubicBezTo>
                        <a:pt x="228" y="114"/>
                        <a:pt x="228" y="114"/>
                        <a:pt x="228" y="114"/>
                      </a:cubicBezTo>
                      <a:cubicBezTo>
                        <a:pt x="228" y="111"/>
                        <a:pt x="231" y="108"/>
                        <a:pt x="234" y="108"/>
                      </a:cubicBezTo>
                      <a:cubicBezTo>
                        <a:pt x="238" y="108"/>
                        <a:pt x="240" y="111"/>
                        <a:pt x="240" y="114"/>
                      </a:cubicBezTo>
                      <a:cubicBezTo>
                        <a:pt x="240" y="258"/>
                        <a:pt x="240" y="258"/>
                        <a:pt x="240" y="258"/>
                      </a:cubicBezTo>
                      <a:cubicBezTo>
                        <a:pt x="240" y="262"/>
                        <a:pt x="238" y="264"/>
                        <a:pt x="234" y="264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AU"/>
                </a:p>
              </p:txBody>
            </p:sp>
            <p:sp>
              <p:nvSpPr>
                <p:cNvPr id="21" name="Freeform 42">
                  <a:extLst>
                    <a:ext uri="{FF2B5EF4-FFF2-40B4-BE49-F238E27FC236}">
                      <a16:creationId xmlns:a16="http://schemas.microsoft.com/office/drawing/2014/main" id="{1DF82B91-3ECC-42A6-90A6-A77B8C282CDE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5638" y="439"/>
                  <a:ext cx="298" cy="294"/>
                </a:xfrm>
                <a:custGeom>
                  <a:avLst/>
                  <a:gdLst>
                    <a:gd name="T0" fmla="*/ 7 w 201"/>
                    <a:gd name="T1" fmla="*/ 199 h 199"/>
                    <a:gd name="T2" fmla="*/ 3 w 201"/>
                    <a:gd name="T3" fmla="*/ 198 h 199"/>
                    <a:gd name="T4" fmla="*/ 1 w 201"/>
                    <a:gd name="T5" fmla="*/ 191 h 199"/>
                    <a:gd name="T6" fmla="*/ 27 w 201"/>
                    <a:gd name="T7" fmla="*/ 132 h 199"/>
                    <a:gd name="T8" fmla="*/ 28 w 201"/>
                    <a:gd name="T9" fmla="*/ 130 h 199"/>
                    <a:gd name="T10" fmla="*/ 156 w 201"/>
                    <a:gd name="T11" fmla="*/ 2 h 199"/>
                    <a:gd name="T12" fmla="*/ 161 w 201"/>
                    <a:gd name="T13" fmla="*/ 0 h 199"/>
                    <a:gd name="T14" fmla="*/ 161 w 201"/>
                    <a:gd name="T15" fmla="*/ 0 h 199"/>
                    <a:gd name="T16" fmla="*/ 165 w 201"/>
                    <a:gd name="T17" fmla="*/ 2 h 199"/>
                    <a:gd name="T18" fmla="*/ 199 w 201"/>
                    <a:gd name="T19" fmla="*/ 36 h 199"/>
                    <a:gd name="T20" fmla="*/ 199 w 201"/>
                    <a:gd name="T21" fmla="*/ 44 h 199"/>
                    <a:gd name="T22" fmla="*/ 71 w 201"/>
                    <a:gd name="T23" fmla="*/ 172 h 199"/>
                    <a:gd name="T24" fmla="*/ 69 w 201"/>
                    <a:gd name="T25" fmla="*/ 174 h 199"/>
                    <a:gd name="T26" fmla="*/ 9 w 201"/>
                    <a:gd name="T27" fmla="*/ 199 h 199"/>
                    <a:gd name="T28" fmla="*/ 7 w 201"/>
                    <a:gd name="T29" fmla="*/ 199 h 199"/>
                    <a:gd name="T30" fmla="*/ 37 w 201"/>
                    <a:gd name="T31" fmla="*/ 137 h 199"/>
                    <a:gd name="T32" fmla="*/ 18 w 201"/>
                    <a:gd name="T33" fmla="*/ 182 h 199"/>
                    <a:gd name="T34" fmla="*/ 63 w 201"/>
                    <a:gd name="T35" fmla="*/ 163 h 199"/>
                    <a:gd name="T36" fmla="*/ 186 w 201"/>
                    <a:gd name="T37" fmla="*/ 40 h 199"/>
                    <a:gd name="T38" fmla="*/ 161 w 201"/>
                    <a:gd name="T39" fmla="*/ 14 h 199"/>
                    <a:gd name="T40" fmla="*/ 37 w 201"/>
                    <a:gd name="T41" fmla="*/ 137 h 199"/>
                    <a:gd name="T42" fmla="*/ 66 w 201"/>
                    <a:gd name="T43" fmla="*/ 168 h 199"/>
                    <a:gd name="T44" fmla="*/ 66 w 201"/>
                    <a:gd name="T45" fmla="*/ 168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</a:cxnLst>
                  <a:rect l="0" t="0" r="r" b="b"/>
                  <a:pathLst>
                    <a:path w="201" h="199">
                      <a:moveTo>
                        <a:pt x="7" y="199"/>
                      </a:moveTo>
                      <a:cubicBezTo>
                        <a:pt x="5" y="199"/>
                        <a:pt x="4" y="199"/>
                        <a:pt x="3" y="198"/>
                      </a:cubicBezTo>
                      <a:cubicBezTo>
                        <a:pt x="1" y="196"/>
                        <a:pt x="0" y="193"/>
                        <a:pt x="1" y="191"/>
                      </a:cubicBezTo>
                      <a:cubicBezTo>
                        <a:pt x="27" y="132"/>
                        <a:pt x="27" y="132"/>
                        <a:pt x="27" y="132"/>
                      </a:cubicBezTo>
                      <a:cubicBezTo>
                        <a:pt x="27" y="131"/>
                        <a:pt x="28" y="130"/>
                        <a:pt x="28" y="130"/>
                      </a:cubicBezTo>
                      <a:cubicBezTo>
                        <a:pt x="156" y="2"/>
                        <a:pt x="156" y="2"/>
                        <a:pt x="156" y="2"/>
                      </a:cubicBezTo>
                      <a:cubicBezTo>
                        <a:pt x="157" y="1"/>
                        <a:pt x="159" y="0"/>
                        <a:pt x="161" y="0"/>
                      </a:cubicBezTo>
                      <a:cubicBezTo>
                        <a:pt x="161" y="0"/>
                        <a:pt x="161" y="0"/>
                        <a:pt x="161" y="0"/>
                      </a:cubicBezTo>
                      <a:cubicBezTo>
                        <a:pt x="162" y="0"/>
                        <a:pt x="164" y="1"/>
                        <a:pt x="165" y="2"/>
                      </a:cubicBezTo>
                      <a:cubicBezTo>
                        <a:pt x="199" y="36"/>
                        <a:pt x="199" y="36"/>
                        <a:pt x="199" y="36"/>
                      </a:cubicBezTo>
                      <a:cubicBezTo>
                        <a:pt x="201" y="38"/>
                        <a:pt x="201" y="42"/>
                        <a:pt x="199" y="44"/>
                      </a:cubicBezTo>
                      <a:cubicBezTo>
                        <a:pt x="71" y="172"/>
                        <a:pt x="71" y="172"/>
                        <a:pt x="71" y="172"/>
                      </a:cubicBezTo>
                      <a:cubicBezTo>
                        <a:pt x="70" y="173"/>
                        <a:pt x="69" y="173"/>
                        <a:pt x="69" y="174"/>
                      </a:cubicBezTo>
                      <a:cubicBezTo>
                        <a:pt x="9" y="199"/>
                        <a:pt x="9" y="199"/>
                        <a:pt x="9" y="199"/>
                      </a:cubicBezTo>
                      <a:cubicBezTo>
                        <a:pt x="9" y="199"/>
                        <a:pt x="8" y="199"/>
                        <a:pt x="7" y="199"/>
                      </a:cubicBezTo>
                      <a:close/>
                      <a:moveTo>
                        <a:pt x="37" y="137"/>
                      </a:moveTo>
                      <a:cubicBezTo>
                        <a:pt x="18" y="182"/>
                        <a:pt x="18" y="182"/>
                        <a:pt x="18" y="182"/>
                      </a:cubicBezTo>
                      <a:cubicBezTo>
                        <a:pt x="63" y="163"/>
                        <a:pt x="63" y="163"/>
                        <a:pt x="63" y="163"/>
                      </a:cubicBezTo>
                      <a:cubicBezTo>
                        <a:pt x="186" y="40"/>
                        <a:pt x="186" y="40"/>
                        <a:pt x="186" y="40"/>
                      </a:cubicBezTo>
                      <a:cubicBezTo>
                        <a:pt x="161" y="14"/>
                        <a:pt x="161" y="14"/>
                        <a:pt x="161" y="14"/>
                      </a:cubicBezTo>
                      <a:lnTo>
                        <a:pt x="37" y="137"/>
                      </a:lnTo>
                      <a:close/>
                      <a:moveTo>
                        <a:pt x="66" y="168"/>
                      </a:moveTo>
                      <a:cubicBezTo>
                        <a:pt x="66" y="168"/>
                        <a:pt x="66" y="168"/>
                        <a:pt x="66" y="168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AU"/>
                </a:p>
              </p:txBody>
            </p:sp>
            <p:sp>
              <p:nvSpPr>
                <p:cNvPr id="22" name="Freeform 43">
                  <a:extLst>
                    <a:ext uri="{FF2B5EF4-FFF2-40B4-BE49-F238E27FC236}">
                      <a16:creationId xmlns:a16="http://schemas.microsoft.com/office/drawing/2014/main" id="{B6608999-4049-4B25-9A27-179B9FD2EAE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834" y="470"/>
                  <a:ext cx="69" cy="70"/>
                </a:xfrm>
                <a:custGeom>
                  <a:avLst/>
                  <a:gdLst>
                    <a:gd name="T0" fmla="*/ 40 w 47"/>
                    <a:gd name="T1" fmla="*/ 47 h 47"/>
                    <a:gd name="T2" fmla="*/ 36 w 47"/>
                    <a:gd name="T3" fmla="*/ 45 h 47"/>
                    <a:gd name="T4" fmla="*/ 2 w 47"/>
                    <a:gd name="T5" fmla="*/ 11 h 47"/>
                    <a:gd name="T6" fmla="*/ 2 w 47"/>
                    <a:gd name="T7" fmla="*/ 3 h 47"/>
                    <a:gd name="T8" fmla="*/ 11 w 47"/>
                    <a:gd name="T9" fmla="*/ 3 h 47"/>
                    <a:gd name="T10" fmla="*/ 45 w 47"/>
                    <a:gd name="T11" fmla="*/ 37 h 47"/>
                    <a:gd name="T12" fmla="*/ 45 w 47"/>
                    <a:gd name="T13" fmla="*/ 45 h 47"/>
                    <a:gd name="T14" fmla="*/ 40 w 47"/>
                    <a:gd name="T15" fmla="*/ 47 h 4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47" h="47">
                      <a:moveTo>
                        <a:pt x="40" y="47"/>
                      </a:moveTo>
                      <a:cubicBezTo>
                        <a:pt x="39" y="47"/>
                        <a:pt x="37" y="46"/>
                        <a:pt x="36" y="45"/>
                      </a:cubicBezTo>
                      <a:cubicBezTo>
                        <a:pt x="2" y="11"/>
                        <a:pt x="2" y="11"/>
                        <a:pt x="2" y="11"/>
                      </a:cubicBezTo>
                      <a:cubicBezTo>
                        <a:pt x="0" y="9"/>
                        <a:pt x="0" y="5"/>
                        <a:pt x="2" y="3"/>
                      </a:cubicBezTo>
                      <a:cubicBezTo>
                        <a:pt x="5" y="0"/>
                        <a:pt x="8" y="0"/>
                        <a:pt x="11" y="3"/>
                      </a:cubicBezTo>
                      <a:cubicBezTo>
                        <a:pt x="45" y="37"/>
                        <a:pt x="45" y="37"/>
                        <a:pt x="45" y="37"/>
                      </a:cubicBezTo>
                      <a:cubicBezTo>
                        <a:pt x="47" y="39"/>
                        <a:pt x="47" y="43"/>
                        <a:pt x="45" y="45"/>
                      </a:cubicBezTo>
                      <a:cubicBezTo>
                        <a:pt x="44" y="46"/>
                        <a:pt x="42" y="47"/>
                        <a:pt x="40" y="4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AU"/>
                </a:p>
              </p:txBody>
            </p:sp>
            <p:sp>
              <p:nvSpPr>
                <p:cNvPr id="23" name="Freeform 44">
                  <a:extLst>
                    <a:ext uri="{FF2B5EF4-FFF2-40B4-BE49-F238E27FC236}">
                      <a16:creationId xmlns:a16="http://schemas.microsoft.com/office/drawing/2014/main" id="{A301E3EC-4ABD-4A40-9F66-51096E2D619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677" y="627"/>
                  <a:ext cx="69" cy="69"/>
                </a:xfrm>
                <a:custGeom>
                  <a:avLst/>
                  <a:gdLst>
                    <a:gd name="T0" fmla="*/ 40 w 47"/>
                    <a:gd name="T1" fmla="*/ 47 h 47"/>
                    <a:gd name="T2" fmla="*/ 36 w 47"/>
                    <a:gd name="T3" fmla="*/ 45 h 47"/>
                    <a:gd name="T4" fmla="*/ 2 w 47"/>
                    <a:gd name="T5" fmla="*/ 11 h 47"/>
                    <a:gd name="T6" fmla="*/ 2 w 47"/>
                    <a:gd name="T7" fmla="*/ 3 h 47"/>
                    <a:gd name="T8" fmla="*/ 11 w 47"/>
                    <a:gd name="T9" fmla="*/ 3 h 47"/>
                    <a:gd name="T10" fmla="*/ 45 w 47"/>
                    <a:gd name="T11" fmla="*/ 37 h 47"/>
                    <a:gd name="T12" fmla="*/ 45 w 47"/>
                    <a:gd name="T13" fmla="*/ 45 h 47"/>
                    <a:gd name="T14" fmla="*/ 40 w 47"/>
                    <a:gd name="T15" fmla="*/ 47 h 4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47" h="47">
                      <a:moveTo>
                        <a:pt x="40" y="47"/>
                      </a:moveTo>
                      <a:cubicBezTo>
                        <a:pt x="39" y="47"/>
                        <a:pt x="37" y="46"/>
                        <a:pt x="36" y="45"/>
                      </a:cubicBezTo>
                      <a:cubicBezTo>
                        <a:pt x="2" y="11"/>
                        <a:pt x="2" y="11"/>
                        <a:pt x="2" y="11"/>
                      </a:cubicBezTo>
                      <a:cubicBezTo>
                        <a:pt x="0" y="9"/>
                        <a:pt x="0" y="5"/>
                        <a:pt x="2" y="3"/>
                      </a:cubicBezTo>
                      <a:cubicBezTo>
                        <a:pt x="4" y="0"/>
                        <a:pt x="8" y="0"/>
                        <a:pt x="11" y="3"/>
                      </a:cubicBezTo>
                      <a:cubicBezTo>
                        <a:pt x="45" y="37"/>
                        <a:pt x="45" y="37"/>
                        <a:pt x="45" y="37"/>
                      </a:cubicBezTo>
                      <a:cubicBezTo>
                        <a:pt x="47" y="39"/>
                        <a:pt x="47" y="43"/>
                        <a:pt x="45" y="45"/>
                      </a:cubicBezTo>
                      <a:cubicBezTo>
                        <a:pt x="43" y="46"/>
                        <a:pt x="42" y="47"/>
                        <a:pt x="40" y="4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AU"/>
                </a:p>
              </p:txBody>
            </p:sp>
          </p:grpSp>
        </p:grpSp>
        <p:grpSp>
          <p:nvGrpSpPr>
            <p:cNvPr id="63" name="Group 62">
              <a:extLst>
                <a:ext uri="{FF2B5EF4-FFF2-40B4-BE49-F238E27FC236}">
                  <a16:creationId xmlns:a16="http://schemas.microsoft.com/office/drawing/2014/main" id="{0DEA1898-1428-4E09-9B2E-BB53680EF3DA}"/>
                </a:ext>
              </a:extLst>
            </p:cNvPr>
            <p:cNvGrpSpPr/>
            <p:nvPr/>
          </p:nvGrpSpPr>
          <p:grpSpPr>
            <a:xfrm>
              <a:off x="6792770" y="1672470"/>
              <a:ext cx="5040000" cy="1080000"/>
              <a:chOff x="6792770" y="1672470"/>
              <a:chExt cx="5040000" cy="1080000"/>
            </a:xfrm>
          </p:grpSpPr>
          <p:sp>
            <p:nvSpPr>
              <p:cNvPr id="6" name="Rectangle 5">
                <a:extLst>
                  <a:ext uri="{FF2B5EF4-FFF2-40B4-BE49-F238E27FC236}">
                    <a16:creationId xmlns:a16="http://schemas.microsoft.com/office/drawing/2014/main" id="{BF2AF2A5-AF80-4FD1-B93A-678427C87E57}"/>
                  </a:ext>
                </a:extLst>
              </p:cNvPr>
              <p:cNvSpPr/>
              <p:nvPr/>
            </p:nvSpPr>
            <p:spPr>
              <a:xfrm>
                <a:off x="6792770" y="1672470"/>
                <a:ext cx="5040000" cy="1080000"/>
              </a:xfrm>
              <a:prstGeom prst="rect">
                <a:avLst/>
              </a:prstGeom>
              <a:solidFill>
                <a:schemeClr val="accent2"/>
              </a:solidFill>
            </p:spPr>
            <p:txBody>
              <a:bodyPr wrap="square" lIns="274320" tIns="72000" rIns="72000" bIns="72000" anchor="ctr" anchorCtr="0">
                <a:noAutofit/>
              </a:bodyPr>
              <a:lstStyle/>
              <a:p>
                <a:pPr>
                  <a:lnSpc>
                    <a:spcPct val="90000"/>
                  </a:lnSpc>
                  <a:defRPr/>
                </a:pPr>
                <a:r>
                  <a:rPr lang="de-DE" sz="1600" b="1">
                    <a:solidFill>
                      <a:schemeClr val="bg1"/>
                    </a:solidFill>
                    <a:latin typeface="Arial Black" panose="020B0A04020102020204" pitchFamily="34" charset="0"/>
                  </a:rPr>
                  <a:t>Datenbank initial befüllt</a:t>
                </a:r>
              </a:p>
            </p:txBody>
          </p:sp>
          <p:grpSp>
            <p:nvGrpSpPr>
              <p:cNvPr id="24" name="Group 119">
                <a:extLst>
                  <a:ext uri="{FF2B5EF4-FFF2-40B4-BE49-F238E27FC236}">
                    <a16:creationId xmlns:a16="http://schemas.microsoft.com/office/drawing/2014/main" id="{D44BF15B-DF57-45EB-9CF2-0A6CE5E79435}"/>
                  </a:ext>
                </a:extLst>
              </p:cNvPr>
              <p:cNvGrpSpPr>
                <a:grpSpLocks noChangeAspect="1"/>
              </p:cNvGrpSpPr>
              <p:nvPr/>
            </p:nvGrpSpPr>
            <p:grpSpPr bwMode="auto">
              <a:xfrm>
                <a:off x="10988202" y="1976429"/>
                <a:ext cx="473188" cy="472082"/>
                <a:chOff x="4481" y="1719"/>
                <a:chExt cx="428" cy="427"/>
              </a:xfrm>
              <a:solidFill>
                <a:schemeClr val="bg1"/>
              </a:solidFill>
            </p:grpSpPr>
            <p:sp>
              <p:nvSpPr>
                <p:cNvPr id="25" name="Freeform 120">
                  <a:extLst>
                    <a:ext uri="{FF2B5EF4-FFF2-40B4-BE49-F238E27FC236}">
                      <a16:creationId xmlns:a16="http://schemas.microsoft.com/office/drawing/2014/main" id="{84216ABA-B7D1-4E4C-B606-F0EC726CAD89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4694" y="1931"/>
                  <a:ext cx="215" cy="215"/>
                </a:xfrm>
                <a:custGeom>
                  <a:avLst/>
                  <a:gdLst>
                    <a:gd name="T0" fmla="*/ 6 w 145"/>
                    <a:gd name="T1" fmla="*/ 145 h 145"/>
                    <a:gd name="T2" fmla="*/ 2 w 145"/>
                    <a:gd name="T3" fmla="*/ 143 h 145"/>
                    <a:gd name="T4" fmla="*/ 1 w 145"/>
                    <a:gd name="T5" fmla="*/ 137 h 145"/>
                    <a:gd name="T6" fmla="*/ 13 w 145"/>
                    <a:gd name="T7" fmla="*/ 95 h 145"/>
                    <a:gd name="T8" fmla="*/ 14 w 145"/>
                    <a:gd name="T9" fmla="*/ 93 h 145"/>
                    <a:gd name="T10" fmla="*/ 104 w 145"/>
                    <a:gd name="T11" fmla="*/ 3 h 145"/>
                    <a:gd name="T12" fmla="*/ 113 w 145"/>
                    <a:gd name="T13" fmla="*/ 3 h 145"/>
                    <a:gd name="T14" fmla="*/ 143 w 145"/>
                    <a:gd name="T15" fmla="*/ 33 h 145"/>
                    <a:gd name="T16" fmla="*/ 143 w 145"/>
                    <a:gd name="T17" fmla="*/ 41 h 145"/>
                    <a:gd name="T18" fmla="*/ 53 w 145"/>
                    <a:gd name="T19" fmla="*/ 131 h 145"/>
                    <a:gd name="T20" fmla="*/ 50 w 145"/>
                    <a:gd name="T21" fmla="*/ 133 h 145"/>
                    <a:gd name="T22" fmla="*/ 8 w 145"/>
                    <a:gd name="T23" fmla="*/ 145 h 145"/>
                    <a:gd name="T24" fmla="*/ 6 w 145"/>
                    <a:gd name="T25" fmla="*/ 145 h 145"/>
                    <a:gd name="T26" fmla="*/ 24 w 145"/>
                    <a:gd name="T27" fmla="*/ 100 h 145"/>
                    <a:gd name="T28" fmla="*/ 15 w 145"/>
                    <a:gd name="T29" fmla="*/ 130 h 145"/>
                    <a:gd name="T30" fmla="*/ 45 w 145"/>
                    <a:gd name="T31" fmla="*/ 121 h 145"/>
                    <a:gd name="T32" fmla="*/ 130 w 145"/>
                    <a:gd name="T33" fmla="*/ 37 h 145"/>
                    <a:gd name="T34" fmla="*/ 108 w 145"/>
                    <a:gd name="T35" fmla="*/ 15 h 145"/>
                    <a:gd name="T36" fmla="*/ 24 w 145"/>
                    <a:gd name="T37" fmla="*/ 100 h 145"/>
                    <a:gd name="T38" fmla="*/ 48 w 145"/>
                    <a:gd name="T39" fmla="*/ 127 h 145"/>
                    <a:gd name="T40" fmla="*/ 48 w 145"/>
                    <a:gd name="T41" fmla="*/ 127 h 14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</a:cxnLst>
                  <a:rect l="0" t="0" r="r" b="b"/>
                  <a:pathLst>
                    <a:path w="145" h="145">
                      <a:moveTo>
                        <a:pt x="6" y="145"/>
                      </a:moveTo>
                      <a:cubicBezTo>
                        <a:pt x="5" y="145"/>
                        <a:pt x="3" y="144"/>
                        <a:pt x="2" y="143"/>
                      </a:cubicBezTo>
                      <a:cubicBezTo>
                        <a:pt x="1" y="142"/>
                        <a:pt x="0" y="139"/>
                        <a:pt x="1" y="137"/>
                      </a:cubicBezTo>
                      <a:cubicBezTo>
                        <a:pt x="13" y="95"/>
                        <a:pt x="13" y="95"/>
                        <a:pt x="13" y="95"/>
                      </a:cubicBezTo>
                      <a:cubicBezTo>
                        <a:pt x="13" y="94"/>
                        <a:pt x="13" y="93"/>
                        <a:pt x="14" y="93"/>
                      </a:cubicBezTo>
                      <a:cubicBezTo>
                        <a:pt x="104" y="3"/>
                        <a:pt x="104" y="3"/>
                        <a:pt x="104" y="3"/>
                      </a:cubicBezTo>
                      <a:cubicBezTo>
                        <a:pt x="107" y="0"/>
                        <a:pt x="110" y="0"/>
                        <a:pt x="113" y="3"/>
                      </a:cubicBezTo>
                      <a:cubicBezTo>
                        <a:pt x="143" y="33"/>
                        <a:pt x="143" y="33"/>
                        <a:pt x="143" y="33"/>
                      </a:cubicBezTo>
                      <a:cubicBezTo>
                        <a:pt x="145" y="35"/>
                        <a:pt x="145" y="39"/>
                        <a:pt x="143" y="41"/>
                      </a:cubicBezTo>
                      <a:cubicBezTo>
                        <a:pt x="53" y="131"/>
                        <a:pt x="53" y="131"/>
                        <a:pt x="53" y="131"/>
                      </a:cubicBezTo>
                      <a:cubicBezTo>
                        <a:pt x="52" y="132"/>
                        <a:pt x="51" y="132"/>
                        <a:pt x="50" y="133"/>
                      </a:cubicBezTo>
                      <a:cubicBezTo>
                        <a:pt x="8" y="145"/>
                        <a:pt x="8" y="145"/>
                        <a:pt x="8" y="145"/>
                      </a:cubicBezTo>
                      <a:cubicBezTo>
                        <a:pt x="8" y="145"/>
                        <a:pt x="7" y="145"/>
                        <a:pt x="6" y="145"/>
                      </a:cubicBezTo>
                      <a:close/>
                      <a:moveTo>
                        <a:pt x="24" y="100"/>
                      </a:moveTo>
                      <a:cubicBezTo>
                        <a:pt x="15" y="130"/>
                        <a:pt x="15" y="130"/>
                        <a:pt x="15" y="130"/>
                      </a:cubicBezTo>
                      <a:cubicBezTo>
                        <a:pt x="45" y="121"/>
                        <a:pt x="45" y="121"/>
                        <a:pt x="45" y="121"/>
                      </a:cubicBezTo>
                      <a:cubicBezTo>
                        <a:pt x="130" y="37"/>
                        <a:pt x="130" y="37"/>
                        <a:pt x="130" y="37"/>
                      </a:cubicBezTo>
                      <a:cubicBezTo>
                        <a:pt x="108" y="15"/>
                        <a:pt x="108" y="15"/>
                        <a:pt x="108" y="15"/>
                      </a:cubicBezTo>
                      <a:lnTo>
                        <a:pt x="24" y="100"/>
                      </a:lnTo>
                      <a:close/>
                      <a:moveTo>
                        <a:pt x="48" y="127"/>
                      </a:moveTo>
                      <a:cubicBezTo>
                        <a:pt x="48" y="127"/>
                        <a:pt x="48" y="127"/>
                        <a:pt x="48" y="12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AU"/>
                </a:p>
              </p:txBody>
            </p:sp>
            <p:sp>
              <p:nvSpPr>
                <p:cNvPr id="26" name="Freeform 121">
                  <a:extLst>
                    <a:ext uri="{FF2B5EF4-FFF2-40B4-BE49-F238E27FC236}">
                      <a16:creationId xmlns:a16="http://schemas.microsoft.com/office/drawing/2014/main" id="{6BA8BD55-DD0A-4839-976B-BB60B41E915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813" y="1971"/>
                  <a:ext cx="57" cy="56"/>
                </a:xfrm>
                <a:custGeom>
                  <a:avLst/>
                  <a:gdLst>
                    <a:gd name="T0" fmla="*/ 44 w 57"/>
                    <a:gd name="T1" fmla="*/ 56 h 56"/>
                    <a:gd name="T2" fmla="*/ 0 w 57"/>
                    <a:gd name="T3" fmla="*/ 12 h 56"/>
                    <a:gd name="T4" fmla="*/ 13 w 57"/>
                    <a:gd name="T5" fmla="*/ 0 h 56"/>
                    <a:gd name="T6" fmla="*/ 57 w 57"/>
                    <a:gd name="T7" fmla="*/ 44 h 56"/>
                    <a:gd name="T8" fmla="*/ 44 w 57"/>
                    <a:gd name="T9" fmla="*/ 56 h 5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57" h="56">
                      <a:moveTo>
                        <a:pt x="44" y="56"/>
                      </a:moveTo>
                      <a:lnTo>
                        <a:pt x="0" y="12"/>
                      </a:lnTo>
                      <a:lnTo>
                        <a:pt x="13" y="0"/>
                      </a:lnTo>
                      <a:lnTo>
                        <a:pt x="57" y="44"/>
                      </a:lnTo>
                      <a:lnTo>
                        <a:pt x="44" y="56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AU"/>
                </a:p>
              </p:txBody>
            </p:sp>
            <p:sp>
              <p:nvSpPr>
                <p:cNvPr id="27" name="Freeform 122">
                  <a:extLst>
                    <a:ext uri="{FF2B5EF4-FFF2-40B4-BE49-F238E27FC236}">
                      <a16:creationId xmlns:a16="http://schemas.microsoft.com/office/drawing/2014/main" id="{D1A2BEA9-6E02-4186-B329-5B74E2D01CB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712" y="2064"/>
                  <a:ext cx="64" cy="64"/>
                </a:xfrm>
                <a:custGeom>
                  <a:avLst/>
                  <a:gdLst>
                    <a:gd name="T0" fmla="*/ 36 w 43"/>
                    <a:gd name="T1" fmla="*/ 43 h 43"/>
                    <a:gd name="T2" fmla="*/ 32 w 43"/>
                    <a:gd name="T3" fmla="*/ 41 h 43"/>
                    <a:gd name="T4" fmla="*/ 2 w 43"/>
                    <a:gd name="T5" fmla="*/ 11 h 43"/>
                    <a:gd name="T6" fmla="*/ 2 w 43"/>
                    <a:gd name="T7" fmla="*/ 3 h 43"/>
                    <a:gd name="T8" fmla="*/ 11 w 43"/>
                    <a:gd name="T9" fmla="*/ 3 h 43"/>
                    <a:gd name="T10" fmla="*/ 41 w 43"/>
                    <a:gd name="T11" fmla="*/ 33 h 43"/>
                    <a:gd name="T12" fmla="*/ 41 w 43"/>
                    <a:gd name="T13" fmla="*/ 41 h 43"/>
                    <a:gd name="T14" fmla="*/ 36 w 43"/>
                    <a:gd name="T15" fmla="*/ 43 h 4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43" h="43">
                      <a:moveTo>
                        <a:pt x="36" y="43"/>
                      </a:moveTo>
                      <a:cubicBezTo>
                        <a:pt x="35" y="43"/>
                        <a:pt x="33" y="42"/>
                        <a:pt x="32" y="41"/>
                      </a:cubicBezTo>
                      <a:cubicBezTo>
                        <a:pt x="2" y="11"/>
                        <a:pt x="2" y="11"/>
                        <a:pt x="2" y="11"/>
                      </a:cubicBezTo>
                      <a:cubicBezTo>
                        <a:pt x="0" y="9"/>
                        <a:pt x="0" y="5"/>
                        <a:pt x="2" y="3"/>
                      </a:cubicBezTo>
                      <a:cubicBezTo>
                        <a:pt x="5" y="0"/>
                        <a:pt x="8" y="0"/>
                        <a:pt x="11" y="3"/>
                      </a:cubicBezTo>
                      <a:cubicBezTo>
                        <a:pt x="41" y="33"/>
                        <a:pt x="41" y="33"/>
                        <a:pt x="41" y="33"/>
                      </a:cubicBezTo>
                      <a:cubicBezTo>
                        <a:pt x="43" y="35"/>
                        <a:pt x="43" y="39"/>
                        <a:pt x="41" y="41"/>
                      </a:cubicBezTo>
                      <a:cubicBezTo>
                        <a:pt x="39" y="42"/>
                        <a:pt x="38" y="43"/>
                        <a:pt x="36" y="43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AU"/>
                </a:p>
              </p:txBody>
            </p:sp>
            <p:sp>
              <p:nvSpPr>
                <p:cNvPr id="28" name="Freeform 123">
                  <a:extLst>
                    <a:ext uri="{FF2B5EF4-FFF2-40B4-BE49-F238E27FC236}">
                      <a16:creationId xmlns:a16="http://schemas.microsoft.com/office/drawing/2014/main" id="{91358D22-587B-4BB6-AF8E-F2C3C30C939A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4481" y="1719"/>
                  <a:ext cx="355" cy="160"/>
                </a:xfrm>
                <a:custGeom>
                  <a:avLst/>
                  <a:gdLst>
                    <a:gd name="T0" fmla="*/ 120 w 240"/>
                    <a:gd name="T1" fmla="*/ 108 h 108"/>
                    <a:gd name="T2" fmla="*/ 0 w 240"/>
                    <a:gd name="T3" fmla="*/ 54 h 108"/>
                    <a:gd name="T4" fmla="*/ 120 w 240"/>
                    <a:gd name="T5" fmla="*/ 0 h 108"/>
                    <a:gd name="T6" fmla="*/ 240 w 240"/>
                    <a:gd name="T7" fmla="*/ 54 h 108"/>
                    <a:gd name="T8" fmla="*/ 120 w 240"/>
                    <a:gd name="T9" fmla="*/ 108 h 108"/>
                    <a:gd name="T10" fmla="*/ 120 w 240"/>
                    <a:gd name="T11" fmla="*/ 12 h 108"/>
                    <a:gd name="T12" fmla="*/ 12 w 240"/>
                    <a:gd name="T13" fmla="*/ 54 h 108"/>
                    <a:gd name="T14" fmla="*/ 120 w 240"/>
                    <a:gd name="T15" fmla="*/ 96 h 108"/>
                    <a:gd name="T16" fmla="*/ 228 w 240"/>
                    <a:gd name="T17" fmla="*/ 54 h 108"/>
                    <a:gd name="T18" fmla="*/ 120 w 240"/>
                    <a:gd name="T19" fmla="*/ 12 h 10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240" h="108">
                      <a:moveTo>
                        <a:pt x="120" y="108"/>
                      </a:moveTo>
                      <a:cubicBezTo>
                        <a:pt x="53" y="108"/>
                        <a:pt x="0" y="84"/>
                        <a:pt x="0" y="54"/>
                      </a:cubicBezTo>
                      <a:cubicBezTo>
                        <a:pt x="0" y="24"/>
                        <a:pt x="53" y="0"/>
                        <a:pt x="120" y="0"/>
                      </a:cubicBezTo>
                      <a:cubicBezTo>
                        <a:pt x="188" y="0"/>
                        <a:pt x="240" y="24"/>
                        <a:pt x="240" y="54"/>
                      </a:cubicBezTo>
                      <a:cubicBezTo>
                        <a:pt x="240" y="84"/>
                        <a:pt x="188" y="108"/>
                        <a:pt x="120" y="108"/>
                      </a:cubicBezTo>
                      <a:close/>
                      <a:moveTo>
                        <a:pt x="120" y="12"/>
                      </a:moveTo>
                      <a:cubicBezTo>
                        <a:pt x="57" y="12"/>
                        <a:pt x="12" y="34"/>
                        <a:pt x="12" y="54"/>
                      </a:cubicBezTo>
                      <a:cubicBezTo>
                        <a:pt x="12" y="74"/>
                        <a:pt x="57" y="96"/>
                        <a:pt x="120" y="96"/>
                      </a:cubicBezTo>
                      <a:cubicBezTo>
                        <a:pt x="184" y="96"/>
                        <a:pt x="228" y="74"/>
                        <a:pt x="228" y="54"/>
                      </a:cubicBezTo>
                      <a:cubicBezTo>
                        <a:pt x="228" y="34"/>
                        <a:pt x="184" y="12"/>
                        <a:pt x="120" y="1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AU"/>
                </a:p>
              </p:txBody>
            </p:sp>
            <p:sp>
              <p:nvSpPr>
                <p:cNvPr id="29" name="Freeform 124">
                  <a:extLst>
                    <a:ext uri="{FF2B5EF4-FFF2-40B4-BE49-F238E27FC236}">
                      <a16:creationId xmlns:a16="http://schemas.microsoft.com/office/drawing/2014/main" id="{63A98D82-30AF-4CA8-98AA-1DBDD7B352D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481" y="1861"/>
                  <a:ext cx="187" cy="89"/>
                </a:xfrm>
                <a:custGeom>
                  <a:avLst/>
                  <a:gdLst>
                    <a:gd name="T0" fmla="*/ 120 w 126"/>
                    <a:gd name="T1" fmla="*/ 60 h 60"/>
                    <a:gd name="T2" fmla="*/ 0 w 126"/>
                    <a:gd name="T3" fmla="*/ 6 h 60"/>
                    <a:gd name="T4" fmla="*/ 6 w 126"/>
                    <a:gd name="T5" fmla="*/ 0 h 60"/>
                    <a:gd name="T6" fmla="*/ 12 w 126"/>
                    <a:gd name="T7" fmla="*/ 6 h 60"/>
                    <a:gd name="T8" fmla="*/ 120 w 126"/>
                    <a:gd name="T9" fmla="*/ 48 h 60"/>
                    <a:gd name="T10" fmla="*/ 126 w 126"/>
                    <a:gd name="T11" fmla="*/ 54 h 60"/>
                    <a:gd name="T12" fmla="*/ 120 w 126"/>
                    <a:gd name="T13" fmla="*/ 60 h 6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26" h="60">
                      <a:moveTo>
                        <a:pt x="120" y="60"/>
                      </a:moveTo>
                      <a:cubicBezTo>
                        <a:pt x="53" y="60"/>
                        <a:pt x="0" y="36"/>
                        <a:pt x="0" y="6"/>
                      </a:cubicBezTo>
                      <a:cubicBezTo>
                        <a:pt x="0" y="3"/>
                        <a:pt x="3" y="0"/>
                        <a:pt x="6" y="0"/>
                      </a:cubicBezTo>
                      <a:cubicBezTo>
                        <a:pt x="10" y="0"/>
                        <a:pt x="12" y="3"/>
                        <a:pt x="12" y="6"/>
                      </a:cubicBezTo>
                      <a:cubicBezTo>
                        <a:pt x="12" y="26"/>
                        <a:pt x="57" y="48"/>
                        <a:pt x="120" y="48"/>
                      </a:cubicBezTo>
                      <a:cubicBezTo>
                        <a:pt x="124" y="48"/>
                        <a:pt x="126" y="51"/>
                        <a:pt x="126" y="54"/>
                      </a:cubicBezTo>
                      <a:cubicBezTo>
                        <a:pt x="126" y="57"/>
                        <a:pt x="124" y="60"/>
                        <a:pt x="120" y="6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AU"/>
                </a:p>
              </p:txBody>
            </p:sp>
            <p:sp>
              <p:nvSpPr>
                <p:cNvPr id="30" name="Freeform 125">
                  <a:extLst>
                    <a:ext uri="{FF2B5EF4-FFF2-40B4-BE49-F238E27FC236}">
                      <a16:creationId xmlns:a16="http://schemas.microsoft.com/office/drawing/2014/main" id="{F6C8E15F-0618-4A8B-859F-23D3390D7A1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481" y="1941"/>
                  <a:ext cx="161" cy="88"/>
                </a:xfrm>
                <a:custGeom>
                  <a:avLst/>
                  <a:gdLst>
                    <a:gd name="T0" fmla="*/ 102 w 109"/>
                    <a:gd name="T1" fmla="*/ 59 h 59"/>
                    <a:gd name="T2" fmla="*/ 102 w 109"/>
                    <a:gd name="T3" fmla="*/ 59 h 59"/>
                    <a:gd name="T4" fmla="*/ 0 w 109"/>
                    <a:gd name="T5" fmla="*/ 6 h 59"/>
                    <a:gd name="T6" fmla="*/ 6 w 109"/>
                    <a:gd name="T7" fmla="*/ 0 h 59"/>
                    <a:gd name="T8" fmla="*/ 12 w 109"/>
                    <a:gd name="T9" fmla="*/ 6 h 59"/>
                    <a:gd name="T10" fmla="*/ 103 w 109"/>
                    <a:gd name="T11" fmla="*/ 47 h 59"/>
                    <a:gd name="T12" fmla="*/ 108 w 109"/>
                    <a:gd name="T13" fmla="*/ 54 h 59"/>
                    <a:gd name="T14" fmla="*/ 102 w 109"/>
                    <a:gd name="T15" fmla="*/ 59 h 5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109" h="59">
                      <a:moveTo>
                        <a:pt x="102" y="59"/>
                      </a:moveTo>
                      <a:cubicBezTo>
                        <a:pt x="102" y="59"/>
                        <a:pt x="102" y="59"/>
                        <a:pt x="102" y="59"/>
                      </a:cubicBezTo>
                      <a:cubicBezTo>
                        <a:pt x="42" y="55"/>
                        <a:pt x="0" y="33"/>
                        <a:pt x="0" y="6"/>
                      </a:cubicBezTo>
                      <a:cubicBezTo>
                        <a:pt x="0" y="3"/>
                        <a:pt x="3" y="0"/>
                        <a:pt x="6" y="0"/>
                      </a:cubicBezTo>
                      <a:cubicBezTo>
                        <a:pt x="10" y="0"/>
                        <a:pt x="12" y="3"/>
                        <a:pt x="12" y="6"/>
                      </a:cubicBezTo>
                      <a:cubicBezTo>
                        <a:pt x="12" y="26"/>
                        <a:pt x="52" y="44"/>
                        <a:pt x="103" y="47"/>
                      </a:cubicBezTo>
                      <a:cubicBezTo>
                        <a:pt x="106" y="47"/>
                        <a:pt x="109" y="50"/>
                        <a:pt x="108" y="54"/>
                      </a:cubicBezTo>
                      <a:cubicBezTo>
                        <a:pt x="108" y="57"/>
                        <a:pt x="106" y="59"/>
                        <a:pt x="102" y="5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AU"/>
                </a:p>
              </p:txBody>
            </p:sp>
            <p:sp>
              <p:nvSpPr>
                <p:cNvPr id="31" name="Freeform 126">
                  <a:extLst>
                    <a:ext uri="{FF2B5EF4-FFF2-40B4-BE49-F238E27FC236}">
                      <a16:creationId xmlns:a16="http://schemas.microsoft.com/office/drawing/2014/main" id="{1979F885-22C7-4FE5-B78A-706622C6AA2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481" y="1790"/>
                  <a:ext cx="170" cy="320"/>
                </a:xfrm>
                <a:custGeom>
                  <a:avLst/>
                  <a:gdLst>
                    <a:gd name="T0" fmla="*/ 108 w 115"/>
                    <a:gd name="T1" fmla="*/ 216 h 216"/>
                    <a:gd name="T2" fmla="*/ 108 w 115"/>
                    <a:gd name="T3" fmla="*/ 216 h 216"/>
                    <a:gd name="T4" fmla="*/ 0 w 115"/>
                    <a:gd name="T5" fmla="*/ 162 h 216"/>
                    <a:gd name="T6" fmla="*/ 0 w 115"/>
                    <a:gd name="T7" fmla="*/ 6 h 216"/>
                    <a:gd name="T8" fmla="*/ 6 w 115"/>
                    <a:gd name="T9" fmla="*/ 0 h 216"/>
                    <a:gd name="T10" fmla="*/ 12 w 115"/>
                    <a:gd name="T11" fmla="*/ 6 h 216"/>
                    <a:gd name="T12" fmla="*/ 12 w 115"/>
                    <a:gd name="T13" fmla="*/ 162 h 216"/>
                    <a:gd name="T14" fmla="*/ 109 w 115"/>
                    <a:gd name="T15" fmla="*/ 204 h 216"/>
                    <a:gd name="T16" fmla="*/ 114 w 115"/>
                    <a:gd name="T17" fmla="*/ 210 h 216"/>
                    <a:gd name="T18" fmla="*/ 108 w 115"/>
                    <a:gd name="T19" fmla="*/ 216 h 21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115" h="216">
                      <a:moveTo>
                        <a:pt x="108" y="216"/>
                      </a:moveTo>
                      <a:cubicBezTo>
                        <a:pt x="108" y="216"/>
                        <a:pt x="108" y="216"/>
                        <a:pt x="108" y="216"/>
                      </a:cubicBezTo>
                      <a:cubicBezTo>
                        <a:pt x="46" y="213"/>
                        <a:pt x="0" y="190"/>
                        <a:pt x="0" y="162"/>
                      </a:cubicBezTo>
                      <a:cubicBezTo>
                        <a:pt x="0" y="6"/>
                        <a:pt x="0" y="6"/>
                        <a:pt x="0" y="6"/>
                      </a:cubicBezTo>
                      <a:cubicBezTo>
                        <a:pt x="0" y="3"/>
                        <a:pt x="3" y="0"/>
                        <a:pt x="6" y="0"/>
                      </a:cubicBezTo>
                      <a:cubicBezTo>
                        <a:pt x="10" y="0"/>
                        <a:pt x="12" y="3"/>
                        <a:pt x="12" y="6"/>
                      </a:cubicBezTo>
                      <a:cubicBezTo>
                        <a:pt x="12" y="162"/>
                        <a:pt x="12" y="162"/>
                        <a:pt x="12" y="162"/>
                      </a:cubicBezTo>
                      <a:cubicBezTo>
                        <a:pt x="12" y="180"/>
                        <a:pt x="49" y="201"/>
                        <a:pt x="109" y="204"/>
                      </a:cubicBezTo>
                      <a:cubicBezTo>
                        <a:pt x="112" y="204"/>
                        <a:pt x="115" y="207"/>
                        <a:pt x="114" y="210"/>
                      </a:cubicBezTo>
                      <a:cubicBezTo>
                        <a:pt x="114" y="213"/>
                        <a:pt x="112" y="216"/>
                        <a:pt x="108" y="216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AU"/>
                </a:p>
              </p:txBody>
            </p:sp>
            <p:sp>
              <p:nvSpPr>
                <p:cNvPr id="32" name="Freeform 127">
                  <a:extLst>
                    <a:ext uri="{FF2B5EF4-FFF2-40B4-BE49-F238E27FC236}">
                      <a16:creationId xmlns:a16="http://schemas.microsoft.com/office/drawing/2014/main" id="{67CFEB29-6F25-4F31-A864-663D6B88F8E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818" y="1790"/>
                  <a:ext cx="18" cy="98"/>
                </a:xfrm>
                <a:custGeom>
                  <a:avLst/>
                  <a:gdLst>
                    <a:gd name="T0" fmla="*/ 6 w 12"/>
                    <a:gd name="T1" fmla="*/ 66 h 66"/>
                    <a:gd name="T2" fmla="*/ 0 w 12"/>
                    <a:gd name="T3" fmla="*/ 60 h 66"/>
                    <a:gd name="T4" fmla="*/ 0 w 12"/>
                    <a:gd name="T5" fmla="*/ 6 h 66"/>
                    <a:gd name="T6" fmla="*/ 6 w 12"/>
                    <a:gd name="T7" fmla="*/ 0 h 66"/>
                    <a:gd name="T8" fmla="*/ 12 w 12"/>
                    <a:gd name="T9" fmla="*/ 6 h 66"/>
                    <a:gd name="T10" fmla="*/ 12 w 12"/>
                    <a:gd name="T11" fmla="*/ 60 h 66"/>
                    <a:gd name="T12" fmla="*/ 6 w 12"/>
                    <a:gd name="T13" fmla="*/ 66 h 6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2" h="66">
                      <a:moveTo>
                        <a:pt x="6" y="66"/>
                      </a:moveTo>
                      <a:cubicBezTo>
                        <a:pt x="3" y="66"/>
                        <a:pt x="0" y="63"/>
                        <a:pt x="0" y="60"/>
                      </a:cubicBezTo>
                      <a:cubicBezTo>
                        <a:pt x="0" y="6"/>
                        <a:pt x="0" y="6"/>
                        <a:pt x="0" y="6"/>
                      </a:cubicBezTo>
                      <a:cubicBezTo>
                        <a:pt x="0" y="3"/>
                        <a:pt x="3" y="0"/>
                        <a:pt x="6" y="0"/>
                      </a:cubicBezTo>
                      <a:cubicBezTo>
                        <a:pt x="10" y="0"/>
                        <a:pt x="12" y="3"/>
                        <a:pt x="12" y="6"/>
                      </a:cubicBezTo>
                      <a:cubicBezTo>
                        <a:pt x="12" y="60"/>
                        <a:pt x="12" y="60"/>
                        <a:pt x="12" y="60"/>
                      </a:cubicBezTo>
                      <a:cubicBezTo>
                        <a:pt x="12" y="63"/>
                        <a:pt x="10" y="66"/>
                        <a:pt x="6" y="66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AU"/>
                </a:p>
              </p:txBody>
            </p:sp>
          </p:grpSp>
        </p:grpSp>
        <p:grpSp>
          <p:nvGrpSpPr>
            <p:cNvPr id="65" name="Group 64">
              <a:extLst>
                <a:ext uri="{FF2B5EF4-FFF2-40B4-BE49-F238E27FC236}">
                  <a16:creationId xmlns:a16="http://schemas.microsoft.com/office/drawing/2014/main" id="{073756D0-2B13-4902-9ECE-A7633F10FA55}"/>
                </a:ext>
              </a:extLst>
            </p:cNvPr>
            <p:cNvGrpSpPr/>
            <p:nvPr/>
          </p:nvGrpSpPr>
          <p:grpSpPr>
            <a:xfrm>
              <a:off x="6792770" y="3150152"/>
              <a:ext cx="5040000" cy="1080000"/>
              <a:chOff x="6792770" y="3150152"/>
              <a:chExt cx="5040000" cy="1080000"/>
            </a:xfrm>
          </p:grpSpPr>
          <p:sp>
            <p:nvSpPr>
              <p:cNvPr id="8" name="Rectangle 7">
                <a:extLst>
                  <a:ext uri="{FF2B5EF4-FFF2-40B4-BE49-F238E27FC236}">
                    <a16:creationId xmlns:a16="http://schemas.microsoft.com/office/drawing/2014/main" id="{454C382D-C089-4F7E-9583-D6D1094F02C6}"/>
                  </a:ext>
                </a:extLst>
              </p:cNvPr>
              <p:cNvSpPr/>
              <p:nvPr/>
            </p:nvSpPr>
            <p:spPr>
              <a:xfrm>
                <a:off x="6792770" y="3150152"/>
                <a:ext cx="5040000" cy="1080000"/>
              </a:xfrm>
              <a:prstGeom prst="rect">
                <a:avLst/>
              </a:prstGeom>
              <a:solidFill>
                <a:schemeClr val="accent2"/>
              </a:solidFill>
            </p:spPr>
            <p:txBody>
              <a:bodyPr wrap="square" lIns="274320" tIns="72000" rIns="72000" bIns="72000" anchor="ctr" anchorCtr="0">
                <a:noAutofit/>
              </a:bodyPr>
              <a:lstStyle/>
              <a:p>
                <a:pPr>
                  <a:lnSpc>
                    <a:spcPct val="90000"/>
                  </a:lnSpc>
                  <a:defRPr/>
                </a:pPr>
                <a:r>
                  <a:rPr lang="de-DE" sz="1600" b="1">
                    <a:solidFill>
                      <a:schemeClr val="bg1"/>
                    </a:solidFill>
                    <a:latin typeface="Arial Black" panose="020B0A04020102020204" pitchFamily="34" charset="0"/>
                  </a:rPr>
                  <a:t>Redirects implementiert</a:t>
                </a:r>
              </a:p>
            </p:txBody>
          </p:sp>
          <p:grpSp>
            <p:nvGrpSpPr>
              <p:cNvPr id="33" name="Group 86">
                <a:extLst>
                  <a:ext uri="{FF2B5EF4-FFF2-40B4-BE49-F238E27FC236}">
                    <a16:creationId xmlns:a16="http://schemas.microsoft.com/office/drawing/2014/main" id="{3DE2ABB7-90EA-43A5-8BCB-84EDEDE1BCF3}"/>
                  </a:ext>
                </a:extLst>
              </p:cNvPr>
              <p:cNvGrpSpPr>
                <a:grpSpLocks noChangeAspect="1"/>
              </p:cNvGrpSpPr>
              <p:nvPr/>
            </p:nvGrpSpPr>
            <p:grpSpPr bwMode="auto">
              <a:xfrm>
                <a:off x="11019544" y="3491152"/>
                <a:ext cx="410504" cy="398000"/>
                <a:chOff x="3453" y="1740"/>
                <a:chExt cx="394" cy="382"/>
              </a:xfrm>
              <a:solidFill>
                <a:schemeClr val="bg1"/>
              </a:solidFill>
            </p:grpSpPr>
            <p:sp>
              <p:nvSpPr>
                <p:cNvPr id="34" name="Freeform 87">
                  <a:extLst>
                    <a:ext uri="{FF2B5EF4-FFF2-40B4-BE49-F238E27FC236}">
                      <a16:creationId xmlns:a16="http://schemas.microsoft.com/office/drawing/2014/main" id="{AB2452E2-96A0-4A51-BE8C-521E67B600A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616" y="1740"/>
                  <a:ext cx="231" cy="221"/>
                </a:xfrm>
                <a:custGeom>
                  <a:avLst/>
                  <a:gdLst>
                    <a:gd name="T0" fmla="*/ 71 w 156"/>
                    <a:gd name="T1" fmla="*/ 149 h 149"/>
                    <a:gd name="T2" fmla="*/ 50 w 156"/>
                    <a:gd name="T3" fmla="*/ 141 h 149"/>
                    <a:gd name="T4" fmla="*/ 49 w 156"/>
                    <a:gd name="T5" fmla="*/ 140 h 149"/>
                    <a:gd name="T6" fmla="*/ 49 w 156"/>
                    <a:gd name="T7" fmla="*/ 131 h 149"/>
                    <a:gd name="T8" fmla="*/ 57 w 156"/>
                    <a:gd name="T9" fmla="*/ 131 h 149"/>
                    <a:gd name="T10" fmla="*/ 59 w 156"/>
                    <a:gd name="T11" fmla="*/ 132 h 149"/>
                    <a:gd name="T12" fmla="*/ 84 w 156"/>
                    <a:gd name="T13" fmla="*/ 132 h 149"/>
                    <a:gd name="T14" fmla="*/ 132 w 156"/>
                    <a:gd name="T15" fmla="*/ 85 h 149"/>
                    <a:gd name="T16" fmla="*/ 132 w 156"/>
                    <a:gd name="T17" fmla="*/ 42 h 149"/>
                    <a:gd name="T18" fmla="*/ 110 w 156"/>
                    <a:gd name="T19" fmla="*/ 21 h 149"/>
                    <a:gd name="T20" fmla="*/ 89 w 156"/>
                    <a:gd name="T21" fmla="*/ 12 h 149"/>
                    <a:gd name="T22" fmla="*/ 68 w 156"/>
                    <a:gd name="T23" fmla="*/ 21 h 149"/>
                    <a:gd name="T24" fmla="*/ 20 w 156"/>
                    <a:gd name="T25" fmla="*/ 69 h 149"/>
                    <a:gd name="T26" fmla="*/ 20 w 156"/>
                    <a:gd name="T27" fmla="*/ 94 h 149"/>
                    <a:gd name="T28" fmla="*/ 21 w 156"/>
                    <a:gd name="T29" fmla="*/ 95 h 149"/>
                    <a:gd name="T30" fmla="*/ 22 w 156"/>
                    <a:gd name="T31" fmla="*/ 104 h 149"/>
                    <a:gd name="T32" fmla="*/ 13 w 156"/>
                    <a:gd name="T33" fmla="*/ 104 h 149"/>
                    <a:gd name="T34" fmla="*/ 12 w 156"/>
                    <a:gd name="T35" fmla="*/ 103 h 149"/>
                    <a:gd name="T36" fmla="*/ 12 w 156"/>
                    <a:gd name="T37" fmla="*/ 60 h 149"/>
                    <a:gd name="T38" fmla="*/ 60 w 156"/>
                    <a:gd name="T39" fmla="*/ 13 h 149"/>
                    <a:gd name="T40" fmla="*/ 89 w 156"/>
                    <a:gd name="T41" fmla="*/ 0 h 149"/>
                    <a:gd name="T42" fmla="*/ 119 w 156"/>
                    <a:gd name="T43" fmla="*/ 13 h 149"/>
                    <a:gd name="T44" fmla="*/ 140 w 156"/>
                    <a:gd name="T45" fmla="*/ 34 h 149"/>
                    <a:gd name="T46" fmla="*/ 140 w 156"/>
                    <a:gd name="T47" fmla="*/ 93 h 149"/>
                    <a:gd name="T48" fmla="*/ 92 w 156"/>
                    <a:gd name="T49" fmla="*/ 141 h 149"/>
                    <a:gd name="T50" fmla="*/ 71 w 156"/>
                    <a:gd name="T51" fmla="*/ 149 h 14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</a:cxnLst>
                  <a:rect l="0" t="0" r="r" b="b"/>
                  <a:pathLst>
                    <a:path w="156" h="149">
                      <a:moveTo>
                        <a:pt x="71" y="149"/>
                      </a:moveTo>
                      <a:cubicBezTo>
                        <a:pt x="64" y="149"/>
                        <a:pt x="56" y="147"/>
                        <a:pt x="50" y="141"/>
                      </a:cubicBezTo>
                      <a:cubicBezTo>
                        <a:pt x="49" y="140"/>
                        <a:pt x="49" y="140"/>
                        <a:pt x="49" y="140"/>
                      </a:cubicBezTo>
                      <a:cubicBezTo>
                        <a:pt x="47" y="137"/>
                        <a:pt x="47" y="134"/>
                        <a:pt x="49" y="131"/>
                      </a:cubicBezTo>
                      <a:cubicBezTo>
                        <a:pt x="51" y="129"/>
                        <a:pt x="55" y="129"/>
                        <a:pt x="57" y="131"/>
                      </a:cubicBezTo>
                      <a:cubicBezTo>
                        <a:pt x="59" y="132"/>
                        <a:pt x="59" y="132"/>
                        <a:pt x="59" y="132"/>
                      </a:cubicBezTo>
                      <a:cubicBezTo>
                        <a:pt x="66" y="139"/>
                        <a:pt x="77" y="139"/>
                        <a:pt x="84" y="132"/>
                      </a:cubicBezTo>
                      <a:cubicBezTo>
                        <a:pt x="132" y="85"/>
                        <a:pt x="132" y="85"/>
                        <a:pt x="132" y="85"/>
                      </a:cubicBezTo>
                      <a:cubicBezTo>
                        <a:pt x="143" y="73"/>
                        <a:pt x="143" y="54"/>
                        <a:pt x="132" y="42"/>
                      </a:cubicBezTo>
                      <a:cubicBezTo>
                        <a:pt x="110" y="21"/>
                        <a:pt x="110" y="21"/>
                        <a:pt x="110" y="21"/>
                      </a:cubicBezTo>
                      <a:cubicBezTo>
                        <a:pt x="105" y="16"/>
                        <a:pt x="97" y="12"/>
                        <a:pt x="89" y="12"/>
                      </a:cubicBezTo>
                      <a:cubicBezTo>
                        <a:pt x="81" y="12"/>
                        <a:pt x="74" y="16"/>
                        <a:pt x="68" y="21"/>
                      </a:cubicBezTo>
                      <a:cubicBezTo>
                        <a:pt x="20" y="69"/>
                        <a:pt x="20" y="69"/>
                        <a:pt x="20" y="69"/>
                      </a:cubicBezTo>
                      <a:cubicBezTo>
                        <a:pt x="13" y="76"/>
                        <a:pt x="13" y="87"/>
                        <a:pt x="20" y="94"/>
                      </a:cubicBezTo>
                      <a:cubicBezTo>
                        <a:pt x="21" y="95"/>
                        <a:pt x="21" y="95"/>
                        <a:pt x="21" y="95"/>
                      </a:cubicBezTo>
                      <a:cubicBezTo>
                        <a:pt x="24" y="97"/>
                        <a:pt x="24" y="101"/>
                        <a:pt x="22" y="104"/>
                      </a:cubicBezTo>
                      <a:cubicBezTo>
                        <a:pt x="19" y="106"/>
                        <a:pt x="15" y="106"/>
                        <a:pt x="13" y="104"/>
                      </a:cubicBezTo>
                      <a:cubicBezTo>
                        <a:pt x="12" y="103"/>
                        <a:pt x="12" y="103"/>
                        <a:pt x="12" y="103"/>
                      </a:cubicBezTo>
                      <a:cubicBezTo>
                        <a:pt x="0" y="91"/>
                        <a:pt x="0" y="72"/>
                        <a:pt x="12" y="60"/>
                      </a:cubicBezTo>
                      <a:cubicBezTo>
                        <a:pt x="60" y="13"/>
                        <a:pt x="60" y="13"/>
                        <a:pt x="60" y="13"/>
                      </a:cubicBezTo>
                      <a:cubicBezTo>
                        <a:pt x="67" y="5"/>
                        <a:pt x="78" y="0"/>
                        <a:pt x="89" y="0"/>
                      </a:cubicBezTo>
                      <a:cubicBezTo>
                        <a:pt x="100" y="0"/>
                        <a:pt x="111" y="5"/>
                        <a:pt x="119" y="13"/>
                      </a:cubicBezTo>
                      <a:cubicBezTo>
                        <a:pt x="140" y="34"/>
                        <a:pt x="140" y="34"/>
                        <a:pt x="140" y="34"/>
                      </a:cubicBezTo>
                      <a:cubicBezTo>
                        <a:pt x="156" y="50"/>
                        <a:pt x="156" y="77"/>
                        <a:pt x="140" y="93"/>
                      </a:cubicBezTo>
                      <a:cubicBezTo>
                        <a:pt x="92" y="141"/>
                        <a:pt x="92" y="141"/>
                        <a:pt x="92" y="141"/>
                      </a:cubicBezTo>
                      <a:cubicBezTo>
                        <a:pt x="87" y="147"/>
                        <a:pt x="79" y="149"/>
                        <a:pt x="71" y="14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AU"/>
                </a:p>
              </p:txBody>
            </p:sp>
            <p:sp>
              <p:nvSpPr>
                <p:cNvPr id="35" name="Freeform 88">
                  <a:extLst>
                    <a:ext uri="{FF2B5EF4-FFF2-40B4-BE49-F238E27FC236}">
                      <a16:creationId xmlns:a16="http://schemas.microsoft.com/office/drawing/2014/main" id="{BE3A0E87-607F-43A7-8B1E-0350728BCE1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453" y="1897"/>
                  <a:ext cx="231" cy="225"/>
                </a:xfrm>
                <a:custGeom>
                  <a:avLst/>
                  <a:gdLst>
                    <a:gd name="T0" fmla="*/ 67 w 156"/>
                    <a:gd name="T1" fmla="*/ 152 h 152"/>
                    <a:gd name="T2" fmla="*/ 38 w 156"/>
                    <a:gd name="T3" fmla="*/ 140 h 152"/>
                    <a:gd name="T4" fmla="*/ 16 w 156"/>
                    <a:gd name="T5" fmla="*/ 119 h 152"/>
                    <a:gd name="T6" fmla="*/ 16 w 156"/>
                    <a:gd name="T7" fmla="*/ 60 h 152"/>
                    <a:gd name="T8" fmla="*/ 64 w 156"/>
                    <a:gd name="T9" fmla="*/ 12 h 152"/>
                    <a:gd name="T10" fmla="*/ 106 w 156"/>
                    <a:gd name="T11" fmla="*/ 12 h 152"/>
                    <a:gd name="T12" fmla="*/ 107 w 156"/>
                    <a:gd name="T13" fmla="*/ 13 h 152"/>
                    <a:gd name="T14" fmla="*/ 108 w 156"/>
                    <a:gd name="T15" fmla="*/ 22 h 152"/>
                    <a:gd name="T16" fmla="*/ 99 w 156"/>
                    <a:gd name="T17" fmla="*/ 22 h 152"/>
                    <a:gd name="T18" fmla="*/ 98 w 156"/>
                    <a:gd name="T19" fmla="*/ 21 h 152"/>
                    <a:gd name="T20" fmla="*/ 73 w 156"/>
                    <a:gd name="T21" fmla="*/ 21 h 152"/>
                    <a:gd name="T22" fmla="*/ 25 w 156"/>
                    <a:gd name="T23" fmla="*/ 68 h 152"/>
                    <a:gd name="T24" fmla="*/ 25 w 156"/>
                    <a:gd name="T25" fmla="*/ 111 h 152"/>
                    <a:gd name="T26" fmla="*/ 46 w 156"/>
                    <a:gd name="T27" fmla="*/ 132 h 152"/>
                    <a:gd name="T28" fmla="*/ 67 w 156"/>
                    <a:gd name="T29" fmla="*/ 140 h 152"/>
                    <a:gd name="T30" fmla="*/ 88 w 156"/>
                    <a:gd name="T31" fmla="*/ 132 h 152"/>
                    <a:gd name="T32" fmla="*/ 136 w 156"/>
                    <a:gd name="T33" fmla="*/ 84 h 152"/>
                    <a:gd name="T34" fmla="*/ 136 w 156"/>
                    <a:gd name="T35" fmla="*/ 59 h 152"/>
                    <a:gd name="T36" fmla="*/ 135 w 156"/>
                    <a:gd name="T37" fmla="*/ 58 h 152"/>
                    <a:gd name="T38" fmla="*/ 135 w 156"/>
                    <a:gd name="T39" fmla="*/ 49 h 152"/>
                    <a:gd name="T40" fmla="*/ 143 w 156"/>
                    <a:gd name="T41" fmla="*/ 49 h 152"/>
                    <a:gd name="T42" fmla="*/ 145 w 156"/>
                    <a:gd name="T43" fmla="*/ 50 h 152"/>
                    <a:gd name="T44" fmla="*/ 145 w 156"/>
                    <a:gd name="T45" fmla="*/ 93 h 152"/>
                    <a:gd name="T46" fmla="*/ 97 w 156"/>
                    <a:gd name="T47" fmla="*/ 140 h 152"/>
                    <a:gd name="T48" fmla="*/ 67 w 156"/>
                    <a:gd name="T49" fmla="*/ 152 h 15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156" h="152">
                      <a:moveTo>
                        <a:pt x="67" y="152"/>
                      </a:moveTo>
                      <a:cubicBezTo>
                        <a:pt x="56" y="152"/>
                        <a:pt x="45" y="148"/>
                        <a:pt x="38" y="140"/>
                      </a:cubicBezTo>
                      <a:cubicBezTo>
                        <a:pt x="16" y="119"/>
                        <a:pt x="16" y="119"/>
                        <a:pt x="16" y="119"/>
                      </a:cubicBezTo>
                      <a:cubicBezTo>
                        <a:pt x="0" y="103"/>
                        <a:pt x="0" y="76"/>
                        <a:pt x="16" y="60"/>
                      </a:cubicBezTo>
                      <a:cubicBezTo>
                        <a:pt x="64" y="12"/>
                        <a:pt x="64" y="12"/>
                        <a:pt x="64" y="12"/>
                      </a:cubicBezTo>
                      <a:cubicBezTo>
                        <a:pt x="76" y="0"/>
                        <a:pt x="95" y="0"/>
                        <a:pt x="106" y="12"/>
                      </a:cubicBezTo>
                      <a:cubicBezTo>
                        <a:pt x="107" y="13"/>
                        <a:pt x="107" y="13"/>
                        <a:pt x="107" y="13"/>
                      </a:cubicBezTo>
                      <a:cubicBezTo>
                        <a:pt x="110" y="15"/>
                        <a:pt x="110" y="19"/>
                        <a:pt x="108" y="22"/>
                      </a:cubicBezTo>
                      <a:cubicBezTo>
                        <a:pt x="105" y="24"/>
                        <a:pt x="101" y="24"/>
                        <a:pt x="99" y="22"/>
                      </a:cubicBezTo>
                      <a:cubicBezTo>
                        <a:pt x="98" y="21"/>
                        <a:pt x="98" y="21"/>
                        <a:pt x="98" y="21"/>
                      </a:cubicBezTo>
                      <a:cubicBezTo>
                        <a:pt x="91" y="14"/>
                        <a:pt x="80" y="14"/>
                        <a:pt x="73" y="21"/>
                      </a:cubicBezTo>
                      <a:cubicBezTo>
                        <a:pt x="25" y="68"/>
                        <a:pt x="25" y="68"/>
                        <a:pt x="25" y="68"/>
                      </a:cubicBezTo>
                      <a:cubicBezTo>
                        <a:pt x="13" y="80"/>
                        <a:pt x="13" y="99"/>
                        <a:pt x="25" y="111"/>
                      </a:cubicBezTo>
                      <a:cubicBezTo>
                        <a:pt x="46" y="132"/>
                        <a:pt x="46" y="132"/>
                        <a:pt x="46" y="132"/>
                      </a:cubicBezTo>
                      <a:cubicBezTo>
                        <a:pt x="52" y="137"/>
                        <a:pt x="59" y="140"/>
                        <a:pt x="67" y="140"/>
                      </a:cubicBezTo>
                      <a:cubicBezTo>
                        <a:pt x="75" y="140"/>
                        <a:pt x="83" y="137"/>
                        <a:pt x="88" y="132"/>
                      </a:cubicBezTo>
                      <a:cubicBezTo>
                        <a:pt x="136" y="84"/>
                        <a:pt x="136" y="84"/>
                        <a:pt x="136" y="84"/>
                      </a:cubicBezTo>
                      <a:cubicBezTo>
                        <a:pt x="143" y="77"/>
                        <a:pt x="143" y="66"/>
                        <a:pt x="136" y="59"/>
                      </a:cubicBezTo>
                      <a:cubicBezTo>
                        <a:pt x="135" y="58"/>
                        <a:pt x="135" y="58"/>
                        <a:pt x="135" y="58"/>
                      </a:cubicBezTo>
                      <a:cubicBezTo>
                        <a:pt x="133" y="55"/>
                        <a:pt x="133" y="52"/>
                        <a:pt x="135" y="49"/>
                      </a:cubicBezTo>
                      <a:cubicBezTo>
                        <a:pt x="137" y="47"/>
                        <a:pt x="141" y="47"/>
                        <a:pt x="143" y="49"/>
                      </a:cubicBezTo>
                      <a:cubicBezTo>
                        <a:pt x="145" y="50"/>
                        <a:pt x="145" y="50"/>
                        <a:pt x="145" y="50"/>
                      </a:cubicBezTo>
                      <a:cubicBezTo>
                        <a:pt x="156" y="62"/>
                        <a:pt x="156" y="81"/>
                        <a:pt x="145" y="93"/>
                      </a:cubicBezTo>
                      <a:cubicBezTo>
                        <a:pt x="97" y="140"/>
                        <a:pt x="97" y="140"/>
                        <a:pt x="97" y="140"/>
                      </a:cubicBezTo>
                      <a:cubicBezTo>
                        <a:pt x="89" y="148"/>
                        <a:pt x="78" y="152"/>
                        <a:pt x="67" y="15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AU"/>
                </a:p>
              </p:txBody>
            </p:sp>
            <p:sp>
              <p:nvSpPr>
                <p:cNvPr id="36" name="Freeform 89">
                  <a:extLst>
                    <a:ext uri="{FF2B5EF4-FFF2-40B4-BE49-F238E27FC236}">
                      <a16:creationId xmlns:a16="http://schemas.microsoft.com/office/drawing/2014/main" id="{0DCA7D3C-2A7E-468B-93C4-03C37B10268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572" y="1853"/>
                  <a:ext cx="156" cy="157"/>
                </a:xfrm>
                <a:custGeom>
                  <a:avLst/>
                  <a:gdLst>
                    <a:gd name="T0" fmla="*/ 7 w 106"/>
                    <a:gd name="T1" fmla="*/ 106 h 106"/>
                    <a:gd name="T2" fmla="*/ 2 w 106"/>
                    <a:gd name="T3" fmla="*/ 104 h 106"/>
                    <a:gd name="T4" fmla="*/ 2 w 106"/>
                    <a:gd name="T5" fmla="*/ 96 h 106"/>
                    <a:gd name="T6" fmla="*/ 96 w 106"/>
                    <a:gd name="T7" fmla="*/ 3 h 106"/>
                    <a:gd name="T8" fmla="*/ 104 w 106"/>
                    <a:gd name="T9" fmla="*/ 3 h 106"/>
                    <a:gd name="T10" fmla="*/ 104 w 106"/>
                    <a:gd name="T11" fmla="*/ 11 h 106"/>
                    <a:gd name="T12" fmla="*/ 11 w 106"/>
                    <a:gd name="T13" fmla="*/ 104 h 106"/>
                    <a:gd name="T14" fmla="*/ 7 w 106"/>
                    <a:gd name="T15" fmla="*/ 106 h 10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106" h="106">
                      <a:moveTo>
                        <a:pt x="7" y="106"/>
                      </a:moveTo>
                      <a:cubicBezTo>
                        <a:pt x="5" y="106"/>
                        <a:pt x="3" y="106"/>
                        <a:pt x="2" y="104"/>
                      </a:cubicBezTo>
                      <a:cubicBezTo>
                        <a:pt x="0" y="102"/>
                        <a:pt x="0" y="98"/>
                        <a:pt x="2" y="96"/>
                      </a:cubicBezTo>
                      <a:cubicBezTo>
                        <a:pt x="96" y="3"/>
                        <a:pt x="96" y="3"/>
                        <a:pt x="96" y="3"/>
                      </a:cubicBezTo>
                      <a:cubicBezTo>
                        <a:pt x="98" y="0"/>
                        <a:pt x="102" y="0"/>
                        <a:pt x="104" y="3"/>
                      </a:cubicBezTo>
                      <a:cubicBezTo>
                        <a:pt x="106" y="5"/>
                        <a:pt x="106" y="9"/>
                        <a:pt x="104" y="11"/>
                      </a:cubicBezTo>
                      <a:cubicBezTo>
                        <a:pt x="11" y="104"/>
                        <a:pt x="11" y="104"/>
                        <a:pt x="11" y="104"/>
                      </a:cubicBezTo>
                      <a:cubicBezTo>
                        <a:pt x="10" y="106"/>
                        <a:pt x="8" y="106"/>
                        <a:pt x="7" y="106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AU"/>
                </a:p>
              </p:txBody>
            </p:sp>
          </p:grpSp>
        </p:grpSp>
        <p:grpSp>
          <p:nvGrpSpPr>
            <p:cNvPr id="67" name="Group 66">
              <a:extLst>
                <a:ext uri="{FF2B5EF4-FFF2-40B4-BE49-F238E27FC236}">
                  <a16:creationId xmlns:a16="http://schemas.microsoft.com/office/drawing/2014/main" id="{202B16A0-C37D-414C-8931-31663B85A982}"/>
                </a:ext>
              </a:extLst>
            </p:cNvPr>
            <p:cNvGrpSpPr/>
            <p:nvPr/>
          </p:nvGrpSpPr>
          <p:grpSpPr>
            <a:xfrm>
              <a:off x="1346157" y="4627834"/>
              <a:ext cx="5040000" cy="1080000"/>
              <a:chOff x="375384" y="4627834"/>
              <a:chExt cx="5040000" cy="1080000"/>
            </a:xfrm>
          </p:grpSpPr>
          <p:sp>
            <p:nvSpPr>
              <p:cNvPr id="9" name="Rectangle 8">
                <a:extLst>
                  <a:ext uri="{FF2B5EF4-FFF2-40B4-BE49-F238E27FC236}">
                    <a16:creationId xmlns:a16="http://schemas.microsoft.com/office/drawing/2014/main" id="{9B94ABC1-38CD-4F8F-AFF5-0877CF15AD50}"/>
                  </a:ext>
                </a:extLst>
              </p:cNvPr>
              <p:cNvSpPr/>
              <p:nvPr/>
            </p:nvSpPr>
            <p:spPr>
              <a:xfrm>
                <a:off x="375384" y="4627834"/>
                <a:ext cx="5040000" cy="1080000"/>
              </a:xfrm>
              <a:prstGeom prst="rect">
                <a:avLst/>
              </a:prstGeom>
              <a:solidFill>
                <a:schemeClr val="accent2"/>
              </a:solidFill>
            </p:spPr>
            <p:txBody>
              <a:bodyPr wrap="square" lIns="274320" tIns="72000" rIns="72000" bIns="72000" anchor="ctr" anchorCtr="0">
                <a:noAutofit/>
              </a:bodyPr>
              <a:lstStyle/>
              <a:p>
                <a:pPr>
                  <a:lnSpc>
                    <a:spcPct val="90000"/>
                  </a:lnSpc>
                  <a:defRPr/>
                </a:pPr>
                <a:r>
                  <a:rPr lang="de-DE" sz="1600" b="1">
                    <a:solidFill>
                      <a:schemeClr val="bg1"/>
                    </a:solidFill>
                    <a:latin typeface="Arial Black" panose="020B0A04020102020204" pitchFamily="34" charset="0"/>
                  </a:rPr>
                  <a:t>Navbar-Änderung nach Login implementiert</a:t>
                </a:r>
              </a:p>
            </p:txBody>
          </p:sp>
          <p:grpSp>
            <p:nvGrpSpPr>
              <p:cNvPr id="37" name="Group 108">
                <a:extLst>
                  <a:ext uri="{FF2B5EF4-FFF2-40B4-BE49-F238E27FC236}">
                    <a16:creationId xmlns:a16="http://schemas.microsoft.com/office/drawing/2014/main" id="{7061B25E-C2FC-4956-935B-2F9D4C606ACF}"/>
                  </a:ext>
                </a:extLst>
              </p:cNvPr>
              <p:cNvGrpSpPr>
                <a:grpSpLocks noChangeAspect="1"/>
              </p:cNvGrpSpPr>
              <p:nvPr/>
            </p:nvGrpSpPr>
            <p:grpSpPr bwMode="auto">
              <a:xfrm>
                <a:off x="4583924" y="4898836"/>
                <a:ext cx="541794" cy="537996"/>
                <a:chOff x="5505" y="1721"/>
                <a:chExt cx="428" cy="425"/>
              </a:xfrm>
              <a:solidFill>
                <a:schemeClr val="bg1"/>
              </a:solidFill>
            </p:grpSpPr>
            <p:sp>
              <p:nvSpPr>
                <p:cNvPr id="38" name="Freeform 109">
                  <a:extLst>
                    <a:ext uri="{FF2B5EF4-FFF2-40B4-BE49-F238E27FC236}">
                      <a16:creationId xmlns:a16="http://schemas.microsoft.com/office/drawing/2014/main" id="{561E7741-206B-4834-ABAE-0F8D6C176D1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505" y="1897"/>
                  <a:ext cx="251" cy="249"/>
                </a:xfrm>
                <a:custGeom>
                  <a:avLst/>
                  <a:gdLst>
                    <a:gd name="T0" fmla="*/ 7 w 169"/>
                    <a:gd name="T1" fmla="*/ 169 h 169"/>
                    <a:gd name="T2" fmla="*/ 2 w 169"/>
                    <a:gd name="T3" fmla="*/ 167 h 169"/>
                    <a:gd name="T4" fmla="*/ 2 w 169"/>
                    <a:gd name="T5" fmla="*/ 158 h 169"/>
                    <a:gd name="T6" fmla="*/ 158 w 169"/>
                    <a:gd name="T7" fmla="*/ 2 h 169"/>
                    <a:gd name="T8" fmla="*/ 167 w 169"/>
                    <a:gd name="T9" fmla="*/ 2 h 169"/>
                    <a:gd name="T10" fmla="*/ 167 w 169"/>
                    <a:gd name="T11" fmla="*/ 11 h 169"/>
                    <a:gd name="T12" fmla="*/ 11 w 169"/>
                    <a:gd name="T13" fmla="*/ 167 h 169"/>
                    <a:gd name="T14" fmla="*/ 7 w 169"/>
                    <a:gd name="T15" fmla="*/ 169 h 16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169" h="169">
                      <a:moveTo>
                        <a:pt x="7" y="169"/>
                      </a:moveTo>
                      <a:cubicBezTo>
                        <a:pt x="5" y="169"/>
                        <a:pt x="4" y="168"/>
                        <a:pt x="2" y="167"/>
                      </a:cubicBezTo>
                      <a:cubicBezTo>
                        <a:pt x="0" y="165"/>
                        <a:pt x="0" y="161"/>
                        <a:pt x="2" y="158"/>
                      </a:cubicBezTo>
                      <a:cubicBezTo>
                        <a:pt x="158" y="2"/>
                        <a:pt x="158" y="2"/>
                        <a:pt x="158" y="2"/>
                      </a:cubicBezTo>
                      <a:cubicBezTo>
                        <a:pt x="161" y="0"/>
                        <a:pt x="165" y="0"/>
                        <a:pt x="167" y="2"/>
                      </a:cubicBezTo>
                      <a:cubicBezTo>
                        <a:pt x="169" y="5"/>
                        <a:pt x="169" y="9"/>
                        <a:pt x="167" y="11"/>
                      </a:cubicBezTo>
                      <a:cubicBezTo>
                        <a:pt x="11" y="167"/>
                        <a:pt x="11" y="167"/>
                        <a:pt x="11" y="167"/>
                      </a:cubicBezTo>
                      <a:cubicBezTo>
                        <a:pt x="10" y="168"/>
                        <a:pt x="8" y="169"/>
                        <a:pt x="7" y="16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9" name="Freeform 110">
                  <a:extLst>
                    <a:ext uri="{FF2B5EF4-FFF2-40B4-BE49-F238E27FC236}">
                      <a16:creationId xmlns:a16="http://schemas.microsoft.com/office/drawing/2014/main" id="{CEA25022-2E25-43DC-B3DA-5246D6D5DF1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862" y="1845"/>
                  <a:ext cx="71" cy="18"/>
                </a:xfrm>
                <a:custGeom>
                  <a:avLst/>
                  <a:gdLst>
                    <a:gd name="T0" fmla="*/ 42 w 48"/>
                    <a:gd name="T1" fmla="*/ 12 h 12"/>
                    <a:gd name="T2" fmla="*/ 6 w 48"/>
                    <a:gd name="T3" fmla="*/ 12 h 12"/>
                    <a:gd name="T4" fmla="*/ 0 w 48"/>
                    <a:gd name="T5" fmla="*/ 6 h 12"/>
                    <a:gd name="T6" fmla="*/ 6 w 48"/>
                    <a:gd name="T7" fmla="*/ 0 h 12"/>
                    <a:gd name="T8" fmla="*/ 42 w 48"/>
                    <a:gd name="T9" fmla="*/ 0 h 12"/>
                    <a:gd name="T10" fmla="*/ 48 w 48"/>
                    <a:gd name="T11" fmla="*/ 6 h 12"/>
                    <a:gd name="T12" fmla="*/ 42 w 48"/>
                    <a:gd name="T13" fmla="*/ 12 h 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48" h="12">
                      <a:moveTo>
                        <a:pt x="42" y="12"/>
                      </a:moveTo>
                      <a:cubicBezTo>
                        <a:pt x="6" y="12"/>
                        <a:pt x="6" y="12"/>
                        <a:pt x="6" y="12"/>
                      </a:cubicBezTo>
                      <a:cubicBezTo>
                        <a:pt x="2" y="12"/>
                        <a:pt x="0" y="9"/>
                        <a:pt x="0" y="6"/>
                      </a:cubicBezTo>
                      <a:cubicBezTo>
                        <a:pt x="0" y="2"/>
                        <a:pt x="2" y="0"/>
                        <a:pt x="6" y="0"/>
                      </a:cubicBezTo>
                      <a:cubicBezTo>
                        <a:pt x="42" y="0"/>
                        <a:pt x="42" y="0"/>
                        <a:pt x="42" y="0"/>
                      </a:cubicBezTo>
                      <a:cubicBezTo>
                        <a:pt x="45" y="0"/>
                        <a:pt x="48" y="2"/>
                        <a:pt x="48" y="6"/>
                      </a:cubicBezTo>
                      <a:cubicBezTo>
                        <a:pt x="48" y="9"/>
                        <a:pt x="45" y="12"/>
                        <a:pt x="42" y="1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40" name="Freeform 111">
                  <a:extLst>
                    <a:ext uri="{FF2B5EF4-FFF2-40B4-BE49-F238E27FC236}">
                      <a16:creationId xmlns:a16="http://schemas.microsoft.com/office/drawing/2014/main" id="{BFF7809E-EE53-472F-BB16-F241BBE1396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843" y="1755"/>
                  <a:ext cx="55" cy="55"/>
                </a:xfrm>
                <a:custGeom>
                  <a:avLst/>
                  <a:gdLst>
                    <a:gd name="T0" fmla="*/ 7 w 37"/>
                    <a:gd name="T1" fmla="*/ 37 h 37"/>
                    <a:gd name="T2" fmla="*/ 2 w 37"/>
                    <a:gd name="T3" fmla="*/ 35 h 37"/>
                    <a:gd name="T4" fmla="*/ 2 w 37"/>
                    <a:gd name="T5" fmla="*/ 26 h 37"/>
                    <a:gd name="T6" fmla="*/ 26 w 37"/>
                    <a:gd name="T7" fmla="*/ 2 h 37"/>
                    <a:gd name="T8" fmla="*/ 35 w 37"/>
                    <a:gd name="T9" fmla="*/ 2 h 37"/>
                    <a:gd name="T10" fmla="*/ 35 w 37"/>
                    <a:gd name="T11" fmla="*/ 11 h 37"/>
                    <a:gd name="T12" fmla="*/ 11 w 37"/>
                    <a:gd name="T13" fmla="*/ 35 h 37"/>
                    <a:gd name="T14" fmla="*/ 7 w 37"/>
                    <a:gd name="T15" fmla="*/ 37 h 3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37" h="37">
                      <a:moveTo>
                        <a:pt x="7" y="37"/>
                      </a:moveTo>
                      <a:cubicBezTo>
                        <a:pt x="5" y="37"/>
                        <a:pt x="4" y="36"/>
                        <a:pt x="2" y="35"/>
                      </a:cubicBezTo>
                      <a:cubicBezTo>
                        <a:pt x="0" y="33"/>
                        <a:pt x="0" y="29"/>
                        <a:pt x="2" y="26"/>
                      </a:cubicBezTo>
                      <a:cubicBezTo>
                        <a:pt x="26" y="2"/>
                        <a:pt x="26" y="2"/>
                        <a:pt x="26" y="2"/>
                      </a:cubicBezTo>
                      <a:cubicBezTo>
                        <a:pt x="29" y="0"/>
                        <a:pt x="33" y="0"/>
                        <a:pt x="35" y="2"/>
                      </a:cubicBezTo>
                      <a:cubicBezTo>
                        <a:pt x="37" y="5"/>
                        <a:pt x="37" y="9"/>
                        <a:pt x="35" y="11"/>
                      </a:cubicBezTo>
                      <a:cubicBezTo>
                        <a:pt x="11" y="35"/>
                        <a:pt x="11" y="35"/>
                        <a:pt x="11" y="35"/>
                      </a:cubicBezTo>
                      <a:cubicBezTo>
                        <a:pt x="10" y="36"/>
                        <a:pt x="8" y="37"/>
                        <a:pt x="7" y="3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41" name="Freeform 112">
                  <a:extLst>
                    <a:ext uri="{FF2B5EF4-FFF2-40B4-BE49-F238E27FC236}">
                      <a16:creationId xmlns:a16="http://schemas.microsoft.com/office/drawing/2014/main" id="{F4892BC5-1C02-40E1-B122-5F21FDEB265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791" y="1721"/>
                  <a:ext cx="18" cy="71"/>
                </a:xfrm>
                <a:custGeom>
                  <a:avLst/>
                  <a:gdLst>
                    <a:gd name="T0" fmla="*/ 6 w 12"/>
                    <a:gd name="T1" fmla="*/ 48 h 48"/>
                    <a:gd name="T2" fmla="*/ 0 w 12"/>
                    <a:gd name="T3" fmla="*/ 42 h 48"/>
                    <a:gd name="T4" fmla="*/ 0 w 12"/>
                    <a:gd name="T5" fmla="*/ 6 h 48"/>
                    <a:gd name="T6" fmla="*/ 6 w 12"/>
                    <a:gd name="T7" fmla="*/ 0 h 48"/>
                    <a:gd name="T8" fmla="*/ 12 w 12"/>
                    <a:gd name="T9" fmla="*/ 6 h 48"/>
                    <a:gd name="T10" fmla="*/ 12 w 12"/>
                    <a:gd name="T11" fmla="*/ 42 h 48"/>
                    <a:gd name="T12" fmla="*/ 6 w 12"/>
                    <a:gd name="T13" fmla="*/ 48 h 4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2" h="48">
                      <a:moveTo>
                        <a:pt x="6" y="48"/>
                      </a:moveTo>
                      <a:cubicBezTo>
                        <a:pt x="2" y="48"/>
                        <a:pt x="0" y="45"/>
                        <a:pt x="0" y="42"/>
                      </a:cubicBezTo>
                      <a:cubicBezTo>
                        <a:pt x="0" y="6"/>
                        <a:pt x="0" y="6"/>
                        <a:pt x="0" y="6"/>
                      </a:cubicBezTo>
                      <a:cubicBezTo>
                        <a:pt x="0" y="2"/>
                        <a:pt x="2" y="0"/>
                        <a:pt x="6" y="0"/>
                      </a:cubicBezTo>
                      <a:cubicBezTo>
                        <a:pt x="9" y="0"/>
                        <a:pt x="12" y="2"/>
                        <a:pt x="12" y="6"/>
                      </a:cubicBezTo>
                      <a:cubicBezTo>
                        <a:pt x="12" y="42"/>
                        <a:pt x="12" y="42"/>
                        <a:pt x="12" y="42"/>
                      </a:cubicBezTo>
                      <a:cubicBezTo>
                        <a:pt x="12" y="45"/>
                        <a:pt x="9" y="48"/>
                        <a:pt x="6" y="48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42" name="Freeform 113">
                  <a:extLst>
                    <a:ext uri="{FF2B5EF4-FFF2-40B4-BE49-F238E27FC236}">
                      <a16:creationId xmlns:a16="http://schemas.microsoft.com/office/drawing/2014/main" id="{F79611A8-ACE4-47A2-85B7-F7FD13A67B2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701" y="1755"/>
                  <a:ext cx="55" cy="55"/>
                </a:xfrm>
                <a:custGeom>
                  <a:avLst/>
                  <a:gdLst>
                    <a:gd name="T0" fmla="*/ 31 w 37"/>
                    <a:gd name="T1" fmla="*/ 37 h 37"/>
                    <a:gd name="T2" fmla="*/ 26 w 37"/>
                    <a:gd name="T3" fmla="*/ 35 h 37"/>
                    <a:gd name="T4" fmla="*/ 2 w 37"/>
                    <a:gd name="T5" fmla="*/ 11 h 37"/>
                    <a:gd name="T6" fmla="*/ 2 w 37"/>
                    <a:gd name="T7" fmla="*/ 2 h 37"/>
                    <a:gd name="T8" fmla="*/ 11 w 37"/>
                    <a:gd name="T9" fmla="*/ 2 h 37"/>
                    <a:gd name="T10" fmla="*/ 35 w 37"/>
                    <a:gd name="T11" fmla="*/ 26 h 37"/>
                    <a:gd name="T12" fmla="*/ 35 w 37"/>
                    <a:gd name="T13" fmla="*/ 35 h 37"/>
                    <a:gd name="T14" fmla="*/ 31 w 37"/>
                    <a:gd name="T15" fmla="*/ 37 h 3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37" h="37">
                      <a:moveTo>
                        <a:pt x="31" y="37"/>
                      </a:moveTo>
                      <a:cubicBezTo>
                        <a:pt x="29" y="37"/>
                        <a:pt x="28" y="36"/>
                        <a:pt x="26" y="35"/>
                      </a:cubicBezTo>
                      <a:cubicBezTo>
                        <a:pt x="2" y="11"/>
                        <a:pt x="2" y="11"/>
                        <a:pt x="2" y="11"/>
                      </a:cubicBezTo>
                      <a:cubicBezTo>
                        <a:pt x="0" y="9"/>
                        <a:pt x="0" y="5"/>
                        <a:pt x="2" y="2"/>
                      </a:cubicBezTo>
                      <a:cubicBezTo>
                        <a:pt x="5" y="0"/>
                        <a:pt x="9" y="0"/>
                        <a:pt x="11" y="2"/>
                      </a:cubicBezTo>
                      <a:cubicBezTo>
                        <a:pt x="35" y="26"/>
                        <a:pt x="35" y="26"/>
                        <a:pt x="35" y="26"/>
                      </a:cubicBezTo>
                      <a:cubicBezTo>
                        <a:pt x="37" y="29"/>
                        <a:pt x="37" y="33"/>
                        <a:pt x="35" y="35"/>
                      </a:cubicBezTo>
                      <a:cubicBezTo>
                        <a:pt x="34" y="36"/>
                        <a:pt x="32" y="37"/>
                        <a:pt x="31" y="3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43" name="Freeform 114">
                  <a:extLst>
                    <a:ext uri="{FF2B5EF4-FFF2-40B4-BE49-F238E27FC236}">
                      <a16:creationId xmlns:a16="http://schemas.microsoft.com/office/drawing/2014/main" id="{58357491-AD1B-41B0-9D93-3D0610620A0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667" y="1845"/>
                  <a:ext cx="71" cy="18"/>
                </a:xfrm>
                <a:custGeom>
                  <a:avLst/>
                  <a:gdLst>
                    <a:gd name="T0" fmla="*/ 42 w 48"/>
                    <a:gd name="T1" fmla="*/ 12 h 12"/>
                    <a:gd name="T2" fmla="*/ 6 w 48"/>
                    <a:gd name="T3" fmla="*/ 12 h 12"/>
                    <a:gd name="T4" fmla="*/ 0 w 48"/>
                    <a:gd name="T5" fmla="*/ 6 h 12"/>
                    <a:gd name="T6" fmla="*/ 6 w 48"/>
                    <a:gd name="T7" fmla="*/ 0 h 12"/>
                    <a:gd name="T8" fmla="*/ 42 w 48"/>
                    <a:gd name="T9" fmla="*/ 0 h 12"/>
                    <a:gd name="T10" fmla="*/ 48 w 48"/>
                    <a:gd name="T11" fmla="*/ 6 h 12"/>
                    <a:gd name="T12" fmla="*/ 42 w 48"/>
                    <a:gd name="T13" fmla="*/ 12 h 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48" h="12">
                      <a:moveTo>
                        <a:pt x="42" y="12"/>
                      </a:moveTo>
                      <a:cubicBezTo>
                        <a:pt x="6" y="12"/>
                        <a:pt x="6" y="12"/>
                        <a:pt x="6" y="12"/>
                      </a:cubicBezTo>
                      <a:cubicBezTo>
                        <a:pt x="2" y="12"/>
                        <a:pt x="0" y="9"/>
                        <a:pt x="0" y="6"/>
                      </a:cubicBezTo>
                      <a:cubicBezTo>
                        <a:pt x="0" y="2"/>
                        <a:pt x="2" y="0"/>
                        <a:pt x="6" y="0"/>
                      </a:cubicBezTo>
                      <a:cubicBezTo>
                        <a:pt x="42" y="0"/>
                        <a:pt x="42" y="0"/>
                        <a:pt x="42" y="0"/>
                      </a:cubicBezTo>
                      <a:cubicBezTo>
                        <a:pt x="45" y="0"/>
                        <a:pt x="48" y="2"/>
                        <a:pt x="48" y="6"/>
                      </a:cubicBezTo>
                      <a:cubicBezTo>
                        <a:pt x="48" y="9"/>
                        <a:pt x="45" y="12"/>
                        <a:pt x="42" y="1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44" name="Freeform 115">
                  <a:extLst>
                    <a:ext uri="{FF2B5EF4-FFF2-40B4-BE49-F238E27FC236}">
                      <a16:creationId xmlns:a16="http://schemas.microsoft.com/office/drawing/2014/main" id="{F97E69CD-FFE8-4A94-AC14-A1B281FF650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791" y="1898"/>
                  <a:ext cx="18" cy="71"/>
                </a:xfrm>
                <a:custGeom>
                  <a:avLst/>
                  <a:gdLst>
                    <a:gd name="T0" fmla="*/ 6 w 12"/>
                    <a:gd name="T1" fmla="*/ 48 h 48"/>
                    <a:gd name="T2" fmla="*/ 0 w 12"/>
                    <a:gd name="T3" fmla="*/ 42 h 48"/>
                    <a:gd name="T4" fmla="*/ 0 w 12"/>
                    <a:gd name="T5" fmla="*/ 6 h 48"/>
                    <a:gd name="T6" fmla="*/ 6 w 12"/>
                    <a:gd name="T7" fmla="*/ 0 h 48"/>
                    <a:gd name="T8" fmla="*/ 12 w 12"/>
                    <a:gd name="T9" fmla="*/ 6 h 48"/>
                    <a:gd name="T10" fmla="*/ 12 w 12"/>
                    <a:gd name="T11" fmla="*/ 42 h 48"/>
                    <a:gd name="T12" fmla="*/ 6 w 12"/>
                    <a:gd name="T13" fmla="*/ 48 h 4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2" h="48">
                      <a:moveTo>
                        <a:pt x="6" y="48"/>
                      </a:moveTo>
                      <a:cubicBezTo>
                        <a:pt x="2" y="48"/>
                        <a:pt x="0" y="45"/>
                        <a:pt x="0" y="42"/>
                      </a:cubicBezTo>
                      <a:cubicBezTo>
                        <a:pt x="0" y="6"/>
                        <a:pt x="0" y="6"/>
                        <a:pt x="0" y="6"/>
                      </a:cubicBezTo>
                      <a:cubicBezTo>
                        <a:pt x="0" y="2"/>
                        <a:pt x="2" y="0"/>
                        <a:pt x="6" y="0"/>
                      </a:cubicBezTo>
                      <a:cubicBezTo>
                        <a:pt x="9" y="0"/>
                        <a:pt x="12" y="2"/>
                        <a:pt x="12" y="6"/>
                      </a:cubicBezTo>
                      <a:cubicBezTo>
                        <a:pt x="12" y="42"/>
                        <a:pt x="12" y="42"/>
                        <a:pt x="12" y="42"/>
                      </a:cubicBezTo>
                      <a:cubicBezTo>
                        <a:pt x="12" y="45"/>
                        <a:pt x="9" y="48"/>
                        <a:pt x="6" y="48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45" name="Freeform 116">
                  <a:extLst>
                    <a:ext uri="{FF2B5EF4-FFF2-40B4-BE49-F238E27FC236}">
                      <a16:creationId xmlns:a16="http://schemas.microsoft.com/office/drawing/2014/main" id="{DBE26CB4-65B6-42AE-80C2-282EE77E7F9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843" y="1879"/>
                  <a:ext cx="55" cy="55"/>
                </a:xfrm>
                <a:custGeom>
                  <a:avLst/>
                  <a:gdLst>
                    <a:gd name="T0" fmla="*/ 31 w 37"/>
                    <a:gd name="T1" fmla="*/ 37 h 37"/>
                    <a:gd name="T2" fmla="*/ 26 w 37"/>
                    <a:gd name="T3" fmla="*/ 35 h 37"/>
                    <a:gd name="T4" fmla="*/ 2 w 37"/>
                    <a:gd name="T5" fmla="*/ 11 h 37"/>
                    <a:gd name="T6" fmla="*/ 2 w 37"/>
                    <a:gd name="T7" fmla="*/ 2 h 37"/>
                    <a:gd name="T8" fmla="*/ 11 w 37"/>
                    <a:gd name="T9" fmla="*/ 2 h 37"/>
                    <a:gd name="T10" fmla="*/ 35 w 37"/>
                    <a:gd name="T11" fmla="*/ 26 h 37"/>
                    <a:gd name="T12" fmla="*/ 35 w 37"/>
                    <a:gd name="T13" fmla="*/ 35 h 37"/>
                    <a:gd name="T14" fmla="*/ 31 w 37"/>
                    <a:gd name="T15" fmla="*/ 37 h 3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37" h="37">
                      <a:moveTo>
                        <a:pt x="31" y="37"/>
                      </a:moveTo>
                      <a:cubicBezTo>
                        <a:pt x="29" y="37"/>
                        <a:pt x="28" y="36"/>
                        <a:pt x="26" y="35"/>
                      </a:cubicBezTo>
                      <a:cubicBezTo>
                        <a:pt x="2" y="11"/>
                        <a:pt x="2" y="11"/>
                        <a:pt x="2" y="11"/>
                      </a:cubicBezTo>
                      <a:cubicBezTo>
                        <a:pt x="0" y="9"/>
                        <a:pt x="0" y="5"/>
                        <a:pt x="2" y="2"/>
                      </a:cubicBezTo>
                      <a:cubicBezTo>
                        <a:pt x="5" y="0"/>
                        <a:pt x="9" y="0"/>
                        <a:pt x="11" y="2"/>
                      </a:cubicBezTo>
                      <a:cubicBezTo>
                        <a:pt x="35" y="26"/>
                        <a:pt x="35" y="26"/>
                        <a:pt x="35" y="26"/>
                      </a:cubicBezTo>
                      <a:cubicBezTo>
                        <a:pt x="37" y="29"/>
                        <a:pt x="37" y="33"/>
                        <a:pt x="35" y="35"/>
                      </a:cubicBezTo>
                      <a:cubicBezTo>
                        <a:pt x="34" y="36"/>
                        <a:pt x="32" y="37"/>
                        <a:pt x="31" y="3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</p:grpSp>
        </p:grpSp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90A89479-535A-48A4-84E1-B8C8540FFD51}"/>
                </a:ext>
              </a:extLst>
            </p:cNvPr>
            <p:cNvGrpSpPr/>
            <p:nvPr/>
          </p:nvGrpSpPr>
          <p:grpSpPr>
            <a:xfrm>
              <a:off x="6792770" y="4627834"/>
              <a:ext cx="5040000" cy="1080000"/>
              <a:chOff x="6792770" y="4627834"/>
              <a:chExt cx="5040000" cy="1080000"/>
            </a:xfrm>
          </p:grpSpPr>
          <p:sp>
            <p:nvSpPr>
              <p:cNvPr id="10" name="Rectangle 9">
                <a:extLst>
                  <a:ext uri="{FF2B5EF4-FFF2-40B4-BE49-F238E27FC236}">
                    <a16:creationId xmlns:a16="http://schemas.microsoft.com/office/drawing/2014/main" id="{201BEEF4-2A58-4E7E-A237-4CF452F0947D}"/>
                  </a:ext>
                </a:extLst>
              </p:cNvPr>
              <p:cNvSpPr/>
              <p:nvPr/>
            </p:nvSpPr>
            <p:spPr>
              <a:xfrm>
                <a:off x="6792770" y="4627834"/>
                <a:ext cx="5040000" cy="1080000"/>
              </a:xfrm>
              <a:prstGeom prst="rect">
                <a:avLst/>
              </a:prstGeom>
              <a:solidFill>
                <a:schemeClr val="accent2"/>
              </a:solidFill>
            </p:spPr>
            <p:txBody>
              <a:bodyPr wrap="square" lIns="274320" tIns="72000" rIns="72000" bIns="72000" anchor="ctr" anchorCtr="0">
                <a:noAutofit/>
              </a:bodyPr>
              <a:lstStyle/>
              <a:p>
                <a:pPr>
                  <a:lnSpc>
                    <a:spcPct val="90000"/>
                  </a:lnSpc>
                  <a:defRPr/>
                </a:pPr>
                <a:r>
                  <a:rPr lang="de-DE" sz="1600" b="1" dirty="0">
                    <a:solidFill>
                      <a:schemeClr val="bg1"/>
                    </a:solidFill>
                    <a:latin typeface="Arial Black" panose="020B0A04020102020204" pitchFamily="34" charset="0"/>
                  </a:rPr>
                  <a:t>kleinere Fixes durchgeführt</a:t>
                </a:r>
              </a:p>
            </p:txBody>
          </p:sp>
          <p:grpSp>
            <p:nvGrpSpPr>
              <p:cNvPr id="46" name="Group 34">
                <a:extLst>
                  <a:ext uri="{FF2B5EF4-FFF2-40B4-BE49-F238E27FC236}">
                    <a16:creationId xmlns:a16="http://schemas.microsoft.com/office/drawing/2014/main" id="{D2C3F397-8C11-45C0-BA15-E332ECF8592A}"/>
                  </a:ext>
                </a:extLst>
              </p:cNvPr>
              <p:cNvGrpSpPr>
                <a:grpSpLocks noChangeAspect="1"/>
              </p:cNvGrpSpPr>
              <p:nvPr/>
            </p:nvGrpSpPr>
            <p:grpSpPr bwMode="auto">
              <a:xfrm>
                <a:off x="11105430" y="4927980"/>
                <a:ext cx="499648" cy="479708"/>
                <a:chOff x="3438" y="446"/>
                <a:chExt cx="426" cy="409"/>
              </a:xfrm>
              <a:solidFill>
                <a:schemeClr val="bg1"/>
              </a:solidFill>
            </p:grpSpPr>
            <p:sp>
              <p:nvSpPr>
                <p:cNvPr id="47" name="Freeform 35">
                  <a:extLst>
                    <a:ext uri="{FF2B5EF4-FFF2-40B4-BE49-F238E27FC236}">
                      <a16:creationId xmlns:a16="http://schemas.microsoft.com/office/drawing/2014/main" id="{7A51E91F-1AC3-4883-9176-21431E14D15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492" y="553"/>
                  <a:ext cx="17" cy="53"/>
                </a:xfrm>
                <a:custGeom>
                  <a:avLst/>
                  <a:gdLst>
                    <a:gd name="T0" fmla="*/ 6 w 12"/>
                    <a:gd name="T1" fmla="*/ 36 h 36"/>
                    <a:gd name="T2" fmla="*/ 0 w 12"/>
                    <a:gd name="T3" fmla="*/ 30 h 36"/>
                    <a:gd name="T4" fmla="*/ 0 w 12"/>
                    <a:gd name="T5" fmla="*/ 6 h 36"/>
                    <a:gd name="T6" fmla="*/ 6 w 12"/>
                    <a:gd name="T7" fmla="*/ 0 h 36"/>
                    <a:gd name="T8" fmla="*/ 12 w 12"/>
                    <a:gd name="T9" fmla="*/ 6 h 36"/>
                    <a:gd name="T10" fmla="*/ 12 w 12"/>
                    <a:gd name="T11" fmla="*/ 30 h 36"/>
                    <a:gd name="T12" fmla="*/ 6 w 12"/>
                    <a:gd name="T13" fmla="*/ 36 h 3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2" h="36">
                      <a:moveTo>
                        <a:pt x="6" y="36"/>
                      </a:moveTo>
                      <a:cubicBezTo>
                        <a:pt x="3" y="36"/>
                        <a:pt x="0" y="33"/>
                        <a:pt x="0" y="30"/>
                      </a:cubicBezTo>
                      <a:cubicBezTo>
                        <a:pt x="0" y="6"/>
                        <a:pt x="0" y="6"/>
                        <a:pt x="0" y="6"/>
                      </a:cubicBezTo>
                      <a:cubicBezTo>
                        <a:pt x="0" y="3"/>
                        <a:pt x="3" y="0"/>
                        <a:pt x="6" y="0"/>
                      </a:cubicBezTo>
                      <a:cubicBezTo>
                        <a:pt x="10" y="0"/>
                        <a:pt x="12" y="3"/>
                        <a:pt x="12" y="6"/>
                      </a:cubicBezTo>
                      <a:cubicBezTo>
                        <a:pt x="12" y="30"/>
                        <a:pt x="12" y="30"/>
                        <a:pt x="12" y="30"/>
                      </a:cubicBezTo>
                      <a:cubicBezTo>
                        <a:pt x="12" y="33"/>
                        <a:pt x="10" y="36"/>
                        <a:pt x="6" y="36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AU"/>
                </a:p>
              </p:txBody>
            </p:sp>
            <p:sp>
              <p:nvSpPr>
                <p:cNvPr id="48" name="Freeform 36">
                  <a:extLst>
                    <a:ext uri="{FF2B5EF4-FFF2-40B4-BE49-F238E27FC236}">
                      <a16:creationId xmlns:a16="http://schemas.microsoft.com/office/drawing/2014/main" id="{DDB98FC0-7B73-4DC6-8C46-591A4616B51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598" y="553"/>
                  <a:ext cx="18" cy="53"/>
                </a:xfrm>
                <a:custGeom>
                  <a:avLst/>
                  <a:gdLst>
                    <a:gd name="T0" fmla="*/ 6 w 12"/>
                    <a:gd name="T1" fmla="*/ 36 h 36"/>
                    <a:gd name="T2" fmla="*/ 0 w 12"/>
                    <a:gd name="T3" fmla="*/ 30 h 36"/>
                    <a:gd name="T4" fmla="*/ 0 w 12"/>
                    <a:gd name="T5" fmla="*/ 6 h 36"/>
                    <a:gd name="T6" fmla="*/ 6 w 12"/>
                    <a:gd name="T7" fmla="*/ 0 h 36"/>
                    <a:gd name="T8" fmla="*/ 12 w 12"/>
                    <a:gd name="T9" fmla="*/ 6 h 36"/>
                    <a:gd name="T10" fmla="*/ 12 w 12"/>
                    <a:gd name="T11" fmla="*/ 30 h 36"/>
                    <a:gd name="T12" fmla="*/ 6 w 12"/>
                    <a:gd name="T13" fmla="*/ 36 h 3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2" h="36">
                      <a:moveTo>
                        <a:pt x="6" y="36"/>
                      </a:moveTo>
                      <a:cubicBezTo>
                        <a:pt x="3" y="36"/>
                        <a:pt x="0" y="33"/>
                        <a:pt x="0" y="30"/>
                      </a:cubicBezTo>
                      <a:cubicBezTo>
                        <a:pt x="0" y="6"/>
                        <a:pt x="0" y="6"/>
                        <a:pt x="0" y="6"/>
                      </a:cubicBezTo>
                      <a:cubicBezTo>
                        <a:pt x="0" y="3"/>
                        <a:pt x="3" y="0"/>
                        <a:pt x="6" y="0"/>
                      </a:cubicBezTo>
                      <a:cubicBezTo>
                        <a:pt x="10" y="0"/>
                        <a:pt x="12" y="3"/>
                        <a:pt x="12" y="6"/>
                      </a:cubicBezTo>
                      <a:cubicBezTo>
                        <a:pt x="12" y="30"/>
                        <a:pt x="12" y="30"/>
                        <a:pt x="12" y="30"/>
                      </a:cubicBezTo>
                      <a:cubicBezTo>
                        <a:pt x="12" y="33"/>
                        <a:pt x="10" y="36"/>
                        <a:pt x="6" y="36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AU"/>
                </a:p>
              </p:txBody>
            </p:sp>
            <p:sp>
              <p:nvSpPr>
                <p:cNvPr id="49" name="Freeform 37">
                  <a:extLst>
                    <a:ext uri="{FF2B5EF4-FFF2-40B4-BE49-F238E27FC236}">
                      <a16:creationId xmlns:a16="http://schemas.microsoft.com/office/drawing/2014/main" id="{AAA48220-77A5-467E-8385-3CEF06CF746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562" y="642"/>
                  <a:ext cx="18" cy="53"/>
                </a:xfrm>
                <a:custGeom>
                  <a:avLst/>
                  <a:gdLst>
                    <a:gd name="T0" fmla="*/ 6 w 12"/>
                    <a:gd name="T1" fmla="*/ 36 h 36"/>
                    <a:gd name="T2" fmla="*/ 0 w 12"/>
                    <a:gd name="T3" fmla="*/ 30 h 36"/>
                    <a:gd name="T4" fmla="*/ 0 w 12"/>
                    <a:gd name="T5" fmla="*/ 6 h 36"/>
                    <a:gd name="T6" fmla="*/ 6 w 12"/>
                    <a:gd name="T7" fmla="*/ 0 h 36"/>
                    <a:gd name="T8" fmla="*/ 12 w 12"/>
                    <a:gd name="T9" fmla="*/ 6 h 36"/>
                    <a:gd name="T10" fmla="*/ 12 w 12"/>
                    <a:gd name="T11" fmla="*/ 30 h 36"/>
                    <a:gd name="T12" fmla="*/ 6 w 12"/>
                    <a:gd name="T13" fmla="*/ 36 h 3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2" h="36">
                      <a:moveTo>
                        <a:pt x="6" y="36"/>
                      </a:moveTo>
                      <a:cubicBezTo>
                        <a:pt x="3" y="36"/>
                        <a:pt x="0" y="33"/>
                        <a:pt x="0" y="30"/>
                      </a:cubicBezTo>
                      <a:cubicBezTo>
                        <a:pt x="0" y="6"/>
                        <a:pt x="0" y="6"/>
                        <a:pt x="0" y="6"/>
                      </a:cubicBezTo>
                      <a:cubicBezTo>
                        <a:pt x="0" y="3"/>
                        <a:pt x="3" y="0"/>
                        <a:pt x="6" y="0"/>
                      </a:cubicBezTo>
                      <a:cubicBezTo>
                        <a:pt x="10" y="0"/>
                        <a:pt x="12" y="3"/>
                        <a:pt x="12" y="6"/>
                      </a:cubicBezTo>
                      <a:cubicBezTo>
                        <a:pt x="12" y="30"/>
                        <a:pt x="12" y="30"/>
                        <a:pt x="12" y="30"/>
                      </a:cubicBezTo>
                      <a:cubicBezTo>
                        <a:pt x="12" y="33"/>
                        <a:pt x="10" y="36"/>
                        <a:pt x="6" y="36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AU"/>
                </a:p>
              </p:txBody>
            </p:sp>
            <p:sp>
              <p:nvSpPr>
                <p:cNvPr id="50" name="Freeform 38">
                  <a:extLst>
                    <a:ext uri="{FF2B5EF4-FFF2-40B4-BE49-F238E27FC236}">
                      <a16:creationId xmlns:a16="http://schemas.microsoft.com/office/drawing/2014/main" id="{8948F7C8-F784-40B1-B7D6-0EF67904FEA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598" y="642"/>
                  <a:ext cx="18" cy="53"/>
                </a:xfrm>
                <a:custGeom>
                  <a:avLst/>
                  <a:gdLst>
                    <a:gd name="T0" fmla="*/ 6 w 12"/>
                    <a:gd name="T1" fmla="*/ 36 h 36"/>
                    <a:gd name="T2" fmla="*/ 0 w 12"/>
                    <a:gd name="T3" fmla="*/ 30 h 36"/>
                    <a:gd name="T4" fmla="*/ 0 w 12"/>
                    <a:gd name="T5" fmla="*/ 6 h 36"/>
                    <a:gd name="T6" fmla="*/ 6 w 12"/>
                    <a:gd name="T7" fmla="*/ 0 h 36"/>
                    <a:gd name="T8" fmla="*/ 12 w 12"/>
                    <a:gd name="T9" fmla="*/ 6 h 36"/>
                    <a:gd name="T10" fmla="*/ 12 w 12"/>
                    <a:gd name="T11" fmla="*/ 30 h 36"/>
                    <a:gd name="T12" fmla="*/ 6 w 12"/>
                    <a:gd name="T13" fmla="*/ 36 h 3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2" h="36">
                      <a:moveTo>
                        <a:pt x="6" y="36"/>
                      </a:moveTo>
                      <a:cubicBezTo>
                        <a:pt x="3" y="36"/>
                        <a:pt x="0" y="33"/>
                        <a:pt x="0" y="30"/>
                      </a:cubicBezTo>
                      <a:cubicBezTo>
                        <a:pt x="0" y="6"/>
                        <a:pt x="0" y="6"/>
                        <a:pt x="0" y="6"/>
                      </a:cubicBezTo>
                      <a:cubicBezTo>
                        <a:pt x="0" y="3"/>
                        <a:pt x="3" y="0"/>
                        <a:pt x="6" y="0"/>
                      </a:cubicBezTo>
                      <a:cubicBezTo>
                        <a:pt x="10" y="0"/>
                        <a:pt x="12" y="3"/>
                        <a:pt x="12" y="6"/>
                      </a:cubicBezTo>
                      <a:cubicBezTo>
                        <a:pt x="12" y="30"/>
                        <a:pt x="12" y="30"/>
                        <a:pt x="12" y="30"/>
                      </a:cubicBezTo>
                      <a:cubicBezTo>
                        <a:pt x="12" y="33"/>
                        <a:pt x="10" y="36"/>
                        <a:pt x="6" y="36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AU"/>
                </a:p>
              </p:txBody>
            </p:sp>
            <p:sp>
              <p:nvSpPr>
                <p:cNvPr id="51" name="Freeform 39">
                  <a:extLst>
                    <a:ext uri="{FF2B5EF4-FFF2-40B4-BE49-F238E27FC236}">
                      <a16:creationId xmlns:a16="http://schemas.microsoft.com/office/drawing/2014/main" id="{AE1B0BBA-961B-47B2-BB19-91A5AF9AFCA9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3527" y="553"/>
                  <a:ext cx="53" cy="53"/>
                </a:xfrm>
                <a:custGeom>
                  <a:avLst/>
                  <a:gdLst>
                    <a:gd name="T0" fmla="*/ 30 w 36"/>
                    <a:gd name="T1" fmla="*/ 36 h 36"/>
                    <a:gd name="T2" fmla="*/ 6 w 36"/>
                    <a:gd name="T3" fmla="*/ 36 h 36"/>
                    <a:gd name="T4" fmla="*/ 0 w 36"/>
                    <a:gd name="T5" fmla="*/ 30 h 36"/>
                    <a:gd name="T6" fmla="*/ 0 w 36"/>
                    <a:gd name="T7" fmla="*/ 6 h 36"/>
                    <a:gd name="T8" fmla="*/ 6 w 36"/>
                    <a:gd name="T9" fmla="*/ 0 h 36"/>
                    <a:gd name="T10" fmla="*/ 30 w 36"/>
                    <a:gd name="T11" fmla="*/ 0 h 36"/>
                    <a:gd name="T12" fmla="*/ 36 w 36"/>
                    <a:gd name="T13" fmla="*/ 6 h 36"/>
                    <a:gd name="T14" fmla="*/ 36 w 36"/>
                    <a:gd name="T15" fmla="*/ 30 h 36"/>
                    <a:gd name="T16" fmla="*/ 30 w 36"/>
                    <a:gd name="T17" fmla="*/ 36 h 36"/>
                    <a:gd name="T18" fmla="*/ 12 w 36"/>
                    <a:gd name="T19" fmla="*/ 24 h 36"/>
                    <a:gd name="T20" fmla="*/ 24 w 36"/>
                    <a:gd name="T21" fmla="*/ 24 h 36"/>
                    <a:gd name="T22" fmla="*/ 24 w 36"/>
                    <a:gd name="T23" fmla="*/ 12 h 36"/>
                    <a:gd name="T24" fmla="*/ 12 w 36"/>
                    <a:gd name="T25" fmla="*/ 12 h 36"/>
                    <a:gd name="T26" fmla="*/ 12 w 36"/>
                    <a:gd name="T27" fmla="*/ 24 h 3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36" h="36">
                      <a:moveTo>
                        <a:pt x="30" y="36"/>
                      </a:moveTo>
                      <a:cubicBezTo>
                        <a:pt x="6" y="36"/>
                        <a:pt x="6" y="36"/>
                        <a:pt x="6" y="36"/>
                      </a:cubicBezTo>
                      <a:cubicBezTo>
                        <a:pt x="3" y="36"/>
                        <a:pt x="0" y="33"/>
                        <a:pt x="0" y="30"/>
                      </a:cubicBezTo>
                      <a:cubicBezTo>
                        <a:pt x="0" y="6"/>
                        <a:pt x="0" y="6"/>
                        <a:pt x="0" y="6"/>
                      </a:cubicBezTo>
                      <a:cubicBezTo>
                        <a:pt x="0" y="3"/>
                        <a:pt x="3" y="0"/>
                        <a:pt x="6" y="0"/>
                      </a:cubicBezTo>
                      <a:cubicBezTo>
                        <a:pt x="30" y="0"/>
                        <a:pt x="30" y="0"/>
                        <a:pt x="30" y="0"/>
                      </a:cubicBezTo>
                      <a:cubicBezTo>
                        <a:pt x="34" y="0"/>
                        <a:pt x="36" y="3"/>
                        <a:pt x="36" y="6"/>
                      </a:cubicBezTo>
                      <a:cubicBezTo>
                        <a:pt x="36" y="30"/>
                        <a:pt x="36" y="30"/>
                        <a:pt x="36" y="30"/>
                      </a:cubicBezTo>
                      <a:cubicBezTo>
                        <a:pt x="36" y="33"/>
                        <a:pt x="34" y="36"/>
                        <a:pt x="30" y="36"/>
                      </a:cubicBezTo>
                      <a:close/>
                      <a:moveTo>
                        <a:pt x="12" y="24"/>
                      </a:moveTo>
                      <a:cubicBezTo>
                        <a:pt x="24" y="24"/>
                        <a:pt x="24" y="24"/>
                        <a:pt x="24" y="24"/>
                      </a:cubicBezTo>
                      <a:cubicBezTo>
                        <a:pt x="24" y="12"/>
                        <a:pt x="24" y="12"/>
                        <a:pt x="24" y="12"/>
                      </a:cubicBezTo>
                      <a:cubicBezTo>
                        <a:pt x="12" y="12"/>
                        <a:pt x="12" y="12"/>
                        <a:pt x="12" y="12"/>
                      </a:cubicBezTo>
                      <a:lnTo>
                        <a:pt x="12" y="24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AU"/>
                </a:p>
              </p:txBody>
            </p:sp>
            <p:sp>
              <p:nvSpPr>
                <p:cNvPr id="52" name="Freeform 40">
                  <a:extLst>
                    <a:ext uri="{FF2B5EF4-FFF2-40B4-BE49-F238E27FC236}">
                      <a16:creationId xmlns:a16="http://schemas.microsoft.com/office/drawing/2014/main" id="{AD7C0E31-CF93-4E77-A3E5-AA79CA08832F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3492" y="642"/>
                  <a:ext cx="53" cy="53"/>
                </a:xfrm>
                <a:custGeom>
                  <a:avLst/>
                  <a:gdLst>
                    <a:gd name="T0" fmla="*/ 30 w 36"/>
                    <a:gd name="T1" fmla="*/ 36 h 36"/>
                    <a:gd name="T2" fmla="*/ 6 w 36"/>
                    <a:gd name="T3" fmla="*/ 36 h 36"/>
                    <a:gd name="T4" fmla="*/ 0 w 36"/>
                    <a:gd name="T5" fmla="*/ 30 h 36"/>
                    <a:gd name="T6" fmla="*/ 0 w 36"/>
                    <a:gd name="T7" fmla="*/ 6 h 36"/>
                    <a:gd name="T8" fmla="*/ 6 w 36"/>
                    <a:gd name="T9" fmla="*/ 0 h 36"/>
                    <a:gd name="T10" fmla="*/ 30 w 36"/>
                    <a:gd name="T11" fmla="*/ 0 h 36"/>
                    <a:gd name="T12" fmla="*/ 36 w 36"/>
                    <a:gd name="T13" fmla="*/ 6 h 36"/>
                    <a:gd name="T14" fmla="*/ 36 w 36"/>
                    <a:gd name="T15" fmla="*/ 30 h 36"/>
                    <a:gd name="T16" fmla="*/ 30 w 36"/>
                    <a:gd name="T17" fmla="*/ 36 h 36"/>
                    <a:gd name="T18" fmla="*/ 12 w 36"/>
                    <a:gd name="T19" fmla="*/ 24 h 36"/>
                    <a:gd name="T20" fmla="*/ 24 w 36"/>
                    <a:gd name="T21" fmla="*/ 24 h 36"/>
                    <a:gd name="T22" fmla="*/ 24 w 36"/>
                    <a:gd name="T23" fmla="*/ 12 h 36"/>
                    <a:gd name="T24" fmla="*/ 12 w 36"/>
                    <a:gd name="T25" fmla="*/ 12 h 36"/>
                    <a:gd name="T26" fmla="*/ 12 w 36"/>
                    <a:gd name="T27" fmla="*/ 24 h 3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36" h="36">
                      <a:moveTo>
                        <a:pt x="30" y="36"/>
                      </a:moveTo>
                      <a:cubicBezTo>
                        <a:pt x="6" y="36"/>
                        <a:pt x="6" y="36"/>
                        <a:pt x="6" y="36"/>
                      </a:cubicBezTo>
                      <a:cubicBezTo>
                        <a:pt x="3" y="36"/>
                        <a:pt x="0" y="33"/>
                        <a:pt x="0" y="30"/>
                      </a:cubicBezTo>
                      <a:cubicBezTo>
                        <a:pt x="0" y="6"/>
                        <a:pt x="0" y="6"/>
                        <a:pt x="0" y="6"/>
                      </a:cubicBezTo>
                      <a:cubicBezTo>
                        <a:pt x="0" y="3"/>
                        <a:pt x="3" y="0"/>
                        <a:pt x="6" y="0"/>
                      </a:cubicBezTo>
                      <a:cubicBezTo>
                        <a:pt x="30" y="0"/>
                        <a:pt x="30" y="0"/>
                        <a:pt x="30" y="0"/>
                      </a:cubicBezTo>
                      <a:cubicBezTo>
                        <a:pt x="34" y="0"/>
                        <a:pt x="36" y="3"/>
                        <a:pt x="36" y="6"/>
                      </a:cubicBezTo>
                      <a:cubicBezTo>
                        <a:pt x="36" y="30"/>
                        <a:pt x="36" y="30"/>
                        <a:pt x="36" y="30"/>
                      </a:cubicBezTo>
                      <a:cubicBezTo>
                        <a:pt x="36" y="33"/>
                        <a:pt x="34" y="36"/>
                        <a:pt x="30" y="36"/>
                      </a:cubicBezTo>
                      <a:close/>
                      <a:moveTo>
                        <a:pt x="12" y="24"/>
                      </a:moveTo>
                      <a:cubicBezTo>
                        <a:pt x="24" y="24"/>
                        <a:pt x="24" y="24"/>
                        <a:pt x="24" y="24"/>
                      </a:cubicBezTo>
                      <a:cubicBezTo>
                        <a:pt x="24" y="12"/>
                        <a:pt x="24" y="12"/>
                        <a:pt x="24" y="12"/>
                      </a:cubicBezTo>
                      <a:cubicBezTo>
                        <a:pt x="12" y="12"/>
                        <a:pt x="12" y="12"/>
                        <a:pt x="12" y="12"/>
                      </a:cubicBezTo>
                      <a:lnTo>
                        <a:pt x="12" y="24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AU"/>
                </a:p>
              </p:txBody>
            </p:sp>
            <p:sp>
              <p:nvSpPr>
                <p:cNvPr id="53" name="Freeform 41">
                  <a:extLst>
                    <a:ext uri="{FF2B5EF4-FFF2-40B4-BE49-F238E27FC236}">
                      <a16:creationId xmlns:a16="http://schemas.microsoft.com/office/drawing/2014/main" id="{F258D5C0-363C-4687-ACA1-EEC99F445C21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3562" y="730"/>
                  <a:ext cx="54" cy="54"/>
                </a:xfrm>
                <a:custGeom>
                  <a:avLst/>
                  <a:gdLst>
                    <a:gd name="T0" fmla="*/ 30 w 36"/>
                    <a:gd name="T1" fmla="*/ 36 h 36"/>
                    <a:gd name="T2" fmla="*/ 6 w 36"/>
                    <a:gd name="T3" fmla="*/ 36 h 36"/>
                    <a:gd name="T4" fmla="*/ 0 w 36"/>
                    <a:gd name="T5" fmla="*/ 30 h 36"/>
                    <a:gd name="T6" fmla="*/ 0 w 36"/>
                    <a:gd name="T7" fmla="*/ 6 h 36"/>
                    <a:gd name="T8" fmla="*/ 6 w 36"/>
                    <a:gd name="T9" fmla="*/ 0 h 36"/>
                    <a:gd name="T10" fmla="*/ 30 w 36"/>
                    <a:gd name="T11" fmla="*/ 0 h 36"/>
                    <a:gd name="T12" fmla="*/ 36 w 36"/>
                    <a:gd name="T13" fmla="*/ 6 h 36"/>
                    <a:gd name="T14" fmla="*/ 36 w 36"/>
                    <a:gd name="T15" fmla="*/ 30 h 36"/>
                    <a:gd name="T16" fmla="*/ 30 w 36"/>
                    <a:gd name="T17" fmla="*/ 36 h 36"/>
                    <a:gd name="T18" fmla="*/ 12 w 36"/>
                    <a:gd name="T19" fmla="*/ 24 h 36"/>
                    <a:gd name="T20" fmla="*/ 24 w 36"/>
                    <a:gd name="T21" fmla="*/ 24 h 36"/>
                    <a:gd name="T22" fmla="*/ 24 w 36"/>
                    <a:gd name="T23" fmla="*/ 12 h 36"/>
                    <a:gd name="T24" fmla="*/ 12 w 36"/>
                    <a:gd name="T25" fmla="*/ 12 h 36"/>
                    <a:gd name="T26" fmla="*/ 12 w 36"/>
                    <a:gd name="T27" fmla="*/ 24 h 3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36" h="36">
                      <a:moveTo>
                        <a:pt x="30" y="36"/>
                      </a:moveTo>
                      <a:cubicBezTo>
                        <a:pt x="6" y="36"/>
                        <a:pt x="6" y="36"/>
                        <a:pt x="6" y="36"/>
                      </a:cubicBezTo>
                      <a:cubicBezTo>
                        <a:pt x="3" y="36"/>
                        <a:pt x="0" y="33"/>
                        <a:pt x="0" y="30"/>
                      </a:cubicBezTo>
                      <a:cubicBezTo>
                        <a:pt x="0" y="6"/>
                        <a:pt x="0" y="6"/>
                        <a:pt x="0" y="6"/>
                      </a:cubicBezTo>
                      <a:cubicBezTo>
                        <a:pt x="0" y="3"/>
                        <a:pt x="3" y="0"/>
                        <a:pt x="6" y="0"/>
                      </a:cubicBezTo>
                      <a:cubicBezTo>
                        <a:pt x="30" y="0"/>
                        <a:pt x="30" y="0"/>
                        <a:pt x="30" y="0"/>
                      </a:cubicBezTo>
                      <a:cubicBezTo>
                        <a:pt x="34" y="0"/>
                        <a:pt x="36" y="3"/>
                        <a:pt x="36" y="6"/>
                      </a:cubicBezTo>
                      <a:cubicBezTo>
                        <a:pt x="36" y="30"/>
                        <a:pt x="36" y="30"/>
                        <a:pt x="36" y="30"/>
                      </a:cubicBezTo>
                      <a:cubicBezTo>
                        <a:pt x="36" y="33"/>
                        <a:pt x="34" y="36"/>
                        <a:pt x="30" y="36"/>
                      </a:cubicBezTo>
                      <a:close/>
                      <a:moveTo>
                        <a:pt x="12" y="24"/>
                      </a:moveTo>
                      <a:cubicBezTo>
                        <a:pt x="24" y="24"/>
                        <a:pt x="24" y="24"/>
                        <a:pt x="24" y="24"/>
                      </a:cubicBezTo>
                      <a:cubicBezTo>
                        <a:pt x="24" y="12"/>
                        <a:pt x="24" y="12"/>
                        <a:pt x="24" y="12"/>
                      </a:cubicBezTo>
                      <a:cubicBezTo>
                        <a:pt x="12" y="12"/>
                        <a:pt x="12" y="12"/>
                        <a:pt x="12" y="12"/>
                      </a:cubicBezTo>
                      <a:lnTo>
                        <a:pt x="12" y="24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AU"/>
                </a:p>
              </p:txBody>
            </p:sp>
            <p:sp>
              <p:nvSpPr>
                <p:cNvPr id="54" name="Freeform 42">
                  <a:extLst>
                    <a:ext uri="{FF2B5EF4-FFF2-40B4-BE49-F238E27FC236}">
                      <a16:creationId xmlns:a16="http://schemas.microsoft.com/office/drawing/2014/main" id="{21383395-96C3-4A86-9707-C8042040224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492" y="730"/>
                  <a:ext cx="17" cy="54"/>
                </a:xfrm>
                <a:custGeom>
                  <a:avLst/>
                  <a:gdLst>
                    <a:gd name="T0" fmla="*/ 6 w 12"/>
                    <a:gd name="T1" fmla="*/ 36 h 36"/>
                    <a:gd name="T2" fmla="*/ 0 w 12"/>
                    <a:gd name="T3" fmla="*/ 30 h 36"/>
                    <a:gd name="T4" fmla="*/ 0 w 12"/>
                    <a:gd name="T5" fmla="*/ 6 h 36"/>
                    <a:gd name="T6" fmla="*/ 6 w 12"/>
                    <a:gd name="T7" fmla="*/ 0 h 36"/>
                    <a:gd name="T8" fmla="*/ 12 w 12"/>
                    <a:gd name="T9" fmla="*/ 6 h 36"/>
                    <a:gd name="T10" fmla="*/ 12 w 12"/>
                    <a:gd name="T11" fmla="*/ 30 h 36"/>
                    <a:gd name="T12" fmla="*/ 6 w 12"/>
                    <a:gd name="T13" fmla="*/ 36 h 3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2" h="36">
                      <a:moveTo>
                        <a:pt x="6" y="36"/>
                      </a:moveTo>
                      <a:cubicBezTo>
                        <a:pt x="3" y="36"/>
                        <a:pt x="0" y="33"/>
                        <a:pt x="0" y="30"/>
                      </a:cubicBezTo>
                      <a:cubicBezTo>
                        <a:pt x="0" y="6"/>
                        <a:pt x="0" y="6"/>
                        <a:pt x="0" y="6"/>
                      </a:cubicBezTo>
                      <a:cubicBezTo>
                        <a:pt x="0" y="3"/>
                        <a:pt x="3" y="0"/>
                        <a:pt x="6" y="0"/>
                      </a:cubicBezTo>
                      <a:cubicBezTo>
                        <a:pt x="10" y="0"/>
                        <a:pt x="12" y="3"/>
                        <a:pt x="12" y="6"/>
                      </a:cubicBezTo>
                      <a:cubicBezTo>
                        <a:pt x="12" y="30"/>
                        <a:pt x="12" y="30"/>
                        <a:pt x="12" y="30"/>
                      </a:cubicBezTo>
                      <a:cubicBezTo>
                        <a:pt x="12" y="33"/>
                        <a:pt x="10" y="36"/>
                        <a:pt x="6" y="36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AU"/>
                </a:p>
              </p:txBody>
            </p:sp>
            <p:sp>
              <p:nvSpPr>
                <p:cNvPr id="55" name="Freeform 43">
                  <a:extLst>
                    <a:ext uri="{FF2B5EF4-FFF2-40B4-BE49-F238E27FC236}">
                      <a16:creationId xmlns:a16="http://schemas.microsoft.com/office/drawing/2014/main" id="{783349B7-0A86-4650-9A55-7580C200E36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527" y="730"/>
                  <a:ext cx="18" cy="54"/>
                </a:xfrm>
                <a:custGeom>
                  <a:avLst/>
                  <a:gdLst>
                    <a:gd name="T0" fmla="*/ 6 w 12"/>
                    <a:gd name="T1" fmla="*/ 36 h 36"/>
                    <a:gd name="T2" fmla="*/ 0 w 12"/>
                    <a:gd name="T3" fmla="*/ 30 h 36"/>
                    <a:gd name="T4" fmla="*/ 0 w 12"/>
                    <a:gd name="T5" fmla="*/ 6 h 36"/>
                    <a:gd name="T6" fmla="*/ 6 w 12"/>
                    <a:gd name="T7" fmla="*/ 0 h 36"/>
                    <a:gd name="T8" fmla="*/ 12 w 12"/>
                    <a:gd name="T9" fmla="*/ 6 h 36"/>
                    <a:gd name="T10" fmla="*/ 12 w 12"/>
                    <a:gd name="T11" fmla="*/ 30 h 36"/>
                    <a:gd name="T12" fmla="*/ 6 w 12"/>
                    <a:gd name="T13" fmla="*/ 36 h 3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2" h="36">
                      <a:moveTo>
                        <a:pt x="6" y="36"/>
                      </a:moveTo>
                      <a:cubicBezTo>
                        <a:pt x="3" y="36"/>
                        <a:pt x="0" y="33"/>
                        <a:pt x="0" y="30"/>
                      </a:cubicBezTo>
                      <a:cubicBezTo>
                        <a:pt x="0" y="6"/>
                        <a:pt x="0" y="6"/>
                        <a:pt x="0" y="6"/>
                      </a:cubicBezTo>
                      <a:cubicBezTo>
                        <a:pt x="0" y="3"/>
                        <a:pt x="3" y="0"/>
                        <a:pt x="6" y="0"/>
                      </a:cubicBezTo>
                      <a:cubicBezTo>
                        <a:pt x="10" y="0"/>
                        <a:pt x="12" y="3"/>
                        <a:pt x="12" y="6"/>
                      </a:cubicBezTo>
                      <a:cubicBezTo>
                        <a:pt x="12" y="30"/>
                        <a:pt x="12" y="30"/>
                        <a:pt x="12" y="30"/>
                      </a:cubicBezTo>
                      <a:cubicBezTo>
                        <a:pt x="12" y="33"/>
                        <a:pt x="10" y="36"/>
                        <a:pt x="6" y="36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AU"/>
                </a:p>
              </p:txBody>
            </p:sp>
            <p:sp>
              <p:nvSpPr>
                <p:cNvPr id="56" name="Freeform 44">
                  <a:extLst>
                    <a:ext uri="{FF2B5EF4-FFF2-40B4-BE49-F238E27FC236}">
                      <a16:creationId xmlns:a16="http://schemas.microsoft.com/office/drawing/2014/main" id="{4F63A8E2-409E-469A-BEB5-47CFE447527E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3651" y="640"/>
                  <a:ext cx="213" cy="215"/>
                </a:xfrm>
                <a:custGeom>
                  <a:avLst/>
                  <a:gdLst>
                    <a:gd name="T0" fmla="*/ 6 w 144"/>
                    <a:gd name="T1" fmla="*/ 145 h 145"/>
                    <a:gd name="T2" fmla="*/ 2 w 144"/>
                    <a:gd name="T3" fmla="*/ 143 h 145"/>
                    <a:gd name="T4" fmla="*/ 1 w 144"/>
                    <a:gd name="T5" fmla="*/ 137 h 145"/>
                    <a:gd name="T6" fmla="*/ 13 w 144"/>
                    <a:gd name="T7" fmla="*/ 95 h 145"/>
                    <a:gd name="T8" fmla="*/ 14 w 144"/>
                    <a:gd name="T9" fmla="*/ 93 h 145"/>
                    <a:gd name="T10" fmla="*/ 104 w 144"/>
                    <a:gd name="T11" fmla="*/ 3 h 145"/>
                    <a:gd name="T12" fmla="*/ 113 w 144"/>
                    <a:gd name="T13" fmla="*/ 3 h 145"/>
                    <a:gd name="T14" fmla="*/ 143 w 144"/>
                    <a:gd name="T15" fmla="*/ 33 h 145"/>
                    <a:gd name="T16" fmla="*/ 144 w 144"/>
                    <a:gd name="T17" fmla="*/ 37 h 145"/>
                    <a:gd name="T18" fmla="*/ 143 w 144"/>
                    <a:gd name="T19" fmla="*/ 41 h 145"/>
                    <a:gd name="T20" fmla="*/ 53 w 144"/>
                    <a:gd name="T21" fmla="*/ 131 h 145"/>
                    <a:gd name="T22" fmla="*/ 50 w 144"/>
                    <a:gd name="T23" fmla="*/ 133 h 145"/>
                    <a:gd name="T24" fmla="*/ 8 w 144"/>
                    <a:gd name="T25" fmla="*/ 145 h 145"/>
                    <a:gd name="T26" fmla="*/ 6 w 144"/>
                    <a:gd name="T27" fmla="*/ 145 h 145"/>
                    <a:gd name="T28" fmla="*/ 24 w 144"/>
                    <a:gd name="T29" fmla="*/ 100 h 145"/>
                    <a:gd name="T30" fmla="*/ 15 w 144"/>
                    <a:gd name="T31" fmla="*/ 130 h 145"/>
                    <a:gd name="T32" fmla="*/ 45 w 144"/>
                    <a:gd name="T33" fmla="*/ 122 h 145"/>
                    <a:gd name="T34" fmla="*/ 130 w 144"/>
                    <a:gd name="T35" fmla="*/ 37 h 145"/>
                    <a:gd name="T36" fmla="*/ 108 w 144"/>
                    <a:gd name="T37" fmla="*/ 16 h 145"/>
                    <a:gd name="T38" fmla="*/ 24 w 144"/>
                    <a:gd name="T39" fmla="*/ 100 h 145"/>
                    <a:gd name="T40" fmla="*/ 48 w 144"/>
                    <a:gd name="T41" fmla="*/ 127 h 145"/>
                    <a:gd name="T42" fmla="*/ 48 w 144"/>
                    <a:gd name="T43" fmla="*/ 127 h 14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</a:cxnLst>
                  <a:rect l="0" t="0" r="r" b="b"/>
                  <a:pathLst>
                    <a:path w="144" h="145">
                      <a:moveTo>
                        <a:pt x="6" y="145"/>
                      </a:moveTo>
                      <a:cubicBezTo>
                        <a:pt x="5" y="145"/>
                        <a:pt x="3" y="144"/>
                        <a:pt x="2" y="143"/>
                      </a:cubicBezTo>
                      <a:cubicBezTo>
                        <a:pt x="1" y="142"/>
                        <a:pt x="0" y="139"/>
                        <a:pt x="1" y="137"/>
                      </a:cubicBezTo>
                      <a:cubicBezTo>
                        <a:pt x="13" y="95"/>
                        <a:pt x="13" y="95"/>
                        <a:pt x="13" y="95"/>
                      </a:cubicBezTo>
                      <a:cubicBezTo>
                        <a:pt x="13" y="94"/>
                        <a:pt x="13" y="94"/>
                        <a:pt x="14" y="93"/>
                      </a:cubicBezTo>
                      <a:cubicBezTo>
                        <a:pt x="104" y="3"/>
                        <a:pt x="104" y="3"/>
                        <a:pt x="104" y="3"/>
                      </a:cubicBezTo>
                      <a:cubicBezTo>
                        <a:pt x="107" y="0"/>
                        <a:pt x="110" y="0"/>
                        <a:pt x="113" y="3"/>
                      </a:cubicBezTo>
                      <a:cubicBezTo>
                        <a:pt x="143" y="33"/>
                        <a:pt x="143" y="33"/>
                        <a:pt x="143" y="33"/>
                      </a:cubicBezTo>
                      <a:cubicBezTo>
                        <a:pt x="144" y="34"/>
                        <a:pt x="144" y="35"/>
                        <a:pt x="144" y="37"/>
                      </a:cubicBezTo>
                      <a:cubicBezTo>
                        <a:pt x="144" y="39"/>
                        <a:pt x="144" y="40"/>
                        <a:pt x="143" y="41"/>
                      </a:cubicBezTo>
                      <a:cubicBezTo>
                        <a:pt x="53" y="131"/>
                        <a:pt x="53" y="131"/>
                        <a:pt x="53" y="131"/>
                      </a:cubicBezTo>
                      <a:cubicBezTo>
                        <a:pt x="52" y="132"/>
                        <a:pt x="51" y="133"/>
                        <a:pt x="50" y="133"/>
                      </a:cubicBezTo>
                      <a:cubicBezTo>
                        <a:pt x="8" y="145"/>
                        <a:pt x="8" y="145"/>
                        <a:pt x="8" y="145"/>
                      </a:cubicBezTo>
                      <a:cubicBezTo>
                        <a:pt x="8" y="145"/>
                        <a:pt x="7" y="145"/>
                        <a:pt x="6" y="145"/>
                      </a:cubicBezTo>
                      <a:close/>
                      <a:moveTo>
                        <a:pt x="24" y="100"/>
                      </a:moveTo>
                      <a:cubicBezTo>
                        <a:pt x="15" y="130"/>
                        <a:pt x="15" y="130"/>
                        <a:pt x="15" y="130"/>
                      </a:cubicBezTo>
                      <a:cubicBezTo>
                        <a:pt x="45" y="122"/>
                        <a:pt x="45" y="122"/>
                        <a:pt x="45" y="122"/>
                      </a:cubicBezTo>
                      <a:cubicBezTo>
                        <a:pt x="130" y="37"/>
                        <a:pt x="130" y="37"/>
                        <a:pt x="130" y="37"/>
                      </a:cubicBezTo>
                      <a:cubicBezTo>
                        <a:pt x="108" y="16"/>
                        <a:pt x="108" y="16"/>
                        <a:pt x="108" y="16"/>
                      </a:cubicBezTo>
                      <a:lnTo>
                        <a:pt x="24" y="100"/>
                      </a:lnTo>
                      <a:close/>
                      <a:moveTo>
                        <a:pt x="48" y="127"/>
                      </a:moveTo>
                      <a:cubicBezTo>
                        <a:pt x="48" y="127"/>
                        <a:pt x="48" y="127"/>
                        <a:pt x="48" y="12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AU"/>
                </a:p>
              </p:txBody>
            </p:sp>
            <p:sp>
              <p:nvSpPr>
                <p:cNvPr id="57" name="Freeform 45">
                  <a:extLst>
                    <a:ext uri="{FF2B5EF4-FFF2-40B4-BE49-F238E27FC236}">
                      <a16:creationId xmlns:a16="http://schemas.microsoft.com/office/drawing/2014/main" id="{7AF99EF6-3EAA-45AB-B6F7-4EA8B48FA99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770" y="680"/>
                  <a:ext cx="57" cy="56"/>
                </a:xfrm>
                <a:custGeom>
                  <a:avLst/>
                  <a:gdLst>
                    <a:gd name="T0" fmla="*/ 44 w 57"/>
                    <a:gd name="T1" fmla="*/ 56 h 56"/>
                    <a:gd name="T2" fmla="*/ 0 w 57"/>
                    <a:gd name="T3" fmla="*/ 12 h 56"/>
                    <a:gd name="T4" fmla="*/ 13 w 57"/>
                    <a:gd name="T5" fmla="*/ 0 h 56"/>
                    <a:gd name="T6" fmla="*/ 57 w 57"/>
                    <a:gd name="T7" fmla="*/ 44 h 56"/>
                    <a:gd name="T8" fmla="*/ 44 w 57"/>
                    <a:gd name="T9" fmla="*/ 56 h 5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57" h="56">
                      <a:moveTo>
                        <a:pt x="44" y="56"/>
                      </a:moveTo>
                      <a:lnTo>
                        <a:pt x="0" y="12"/>
                      </a:lnTo>
                      <a:lnTo>
                        <a:pt x="13" y="0"/>
                      </a:lnTo>
                      <a:lnTo>
                        <a:pt x="57" y="44"/>
                      </a:lnTo>
                      <a:lnTo>
                        <a:pt x="44" y="56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AU"/>
                </a:p>
              </p:txBody>
            </p:sp>
            <p:sp>
              <p:nvSpPr>
                <p:cNvPr id="58" name="Freeform 46">
                  <a:extLst>
                    <a:ext uri="{FF2B5EF4-FFF2-40B4-BE49-F238E27FC236}">
                      <a16:creationId xmlns:a16="http://schemas.microsoft.com/office/drawing/2014/main" id="{E0D91ED3-4182-472D-A1A1-B348B5A70B8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669" y="773"/>
                  <a:ext cx="64" cy="64"/>
                </a:xfrm>
                <a:custGeom>
                  <a:avLst/>
                  <a:gdLst>
                    <a:gd name="T0" fmla="*/ 36 w 43"/>
                    <a:gd name="T1" fmla="*/ 43 h 43"/>
                    <a:gd name="T2" fmla="*/ 32 w 43"/>
                    <a:gd name="T3" fmla="*/ 41 h 43"/>
                    <a:gd name="T4" fmla="*/ 2 w 43"/>
                    <a:gd name="T5" fmla="*/ 11 h 43"/>
                    <a:gd name="T6" fmla="*/ 2 w 43"/>
                    <a:gd name="T7" fmla="*/ 3 h 43"/>
                    <a:gd name="T8" fmla="*/ 11 w 43"/>
                    <a:gd name="T9" fmla="*/ 3 h 43"/>
                    <a:gd name="T10" fmla="*/ 41 w 43"/>
                    <a:gd name="T11" fmla="*/ 33 h 43"/>
                    <a:gd name="T12" fmla="*/ 41 w 43"/>
                    <a:gd name="T13" fmla="*/ 41 h 43"/>
                    <a:gd name="T14" fmla="*/ 36 w 43"/>
                    <a:gd name="T15" fmla="*/ 43 h 4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43" h="43">
                      <a:moveTo>
                        <a:pt x="36" y="43"/>
                      </a:moveTo>
                      <a:cubicBezTo>
                        <a:pt x="35" y="43"/>
                        <a:pt x="33" y="42"/>
                        <a:pt x="32" y="41"/>
                      </a:cubicBezTo>
                      <a:cubicBezTo>
                        <a:pt x="2" y="11"/>
                        <a:pt x="2" y="11"/>
                        <a:pt x="2" y="11"/>
                      </a:cubicBezTo>
                      <a:cubicBezTo>
                        <a:pt x="0" y="9"/>
                        <a:pt x="0" y="5"/>
                        <a:pt x="2" y="3"/>
                      </a:cubicBezTo>
                      <a:cubicBezTo>
                        <a:pt x="5" y="0"/>
                        <a:pt x="8" y="0"/>
                        <a:pt x="11" y="3"/>
                      </a:cubicBezTo>
                      <a:cubicBezTo>
                        <a:pt x="41" y="33"/>
                        <a:pt x="41" y="33"/>
                        <a:pt x="41" y="33"/>
                      </a:cubicBezTo>
                      <a:cubicBezTo>
                        <a:pt x="43" y="35"/>
                        <a:pt x="43" y="39"/>
                        <a:pt x="41" y="41"/>
                      </a:cubicBezTo>
                      <a:cubicBezTo>
                        <a:pt x="39" y="42"/>
                        <a:pt x="38" y="43"/>
                        <a:pt x="36" y="43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AU"/>
                </a:p>
              </p:txBody>
            </p:sp>
            <p:sp>
              <p:nvSpPr>
                <p:cNvPr id="59" name="Freeform 47">
                  <a:extLst>
                    <a:ext uri="{FF2B5EF4-FFF2-40B4-BE49-F238E27FC236}">
                      <a16:creationId xmlns:a16="http://schemas.microsoft.com/office/drawing/2014/main" id="{1F4D5DA4-1A40-4520-B4EA-D331486C3EA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438" y="446"/>
                  <a:ext cx="302" cy="391"/>
                </a:xfrm>
                <a:custGeom>
                  <a:avLst/>
                  <a:gdLst>
                    <a:gd name="T0" fmla="*/ 132 w 204"/>
                    <a:gd name="T1" fmla="*/ 264 h 264"/>
                    <a:gd name="T2" fmla="*/ 6 w 204"/>
                    <a:gd name="T3" fmla="*/ 264 h 264"/>
                    <a:gd name="T4" fmla="*/ 0 w 204"/>
                    <a:gd name="T5" fmla="*/ 258 h 264"/>
                    <a:gd name="T6" fmla="*/ 0 w 204"/>
                    <a:gd name="T7" fmla="*/ 6 h 264"/>
                    <a:gd name="T8" fmla="*/ 6 w 204"/>
                    <a:gd name="T9" fmla="*/ 0 h 264"/>
                    <a:gd name="T10" fmla="*/ 138 w 204"/>
                    <a:gd name="T11" fmla="*/ 0 h 264"/>
                    <a:gd name="T12" fmla="*/ 143 w 204"/>
                    <a:gd name="T13" fmla="*/ 2 h 264"/>
                    <a:gd name="T14" fmla="*/ 203 w 204"/>
                    <a:gd name="T15" fmla="*/ 62 h 264"/>
                    <a:gd name="T16" fmla="*/ 204 w 204"/>
                    <a:gd name="T17" fmla="*/ 66 h 264"/>
                    <a:gd name="T18" fmla="*/ 204 w 204"/>
                    <a:gd name="T19" fmla="*/ 144 h 264"/>
                    <a:gd name="T20" fmla="*/ 192 w 204"/>
                    <a:gd name="T21" fmla="*/ 144 h 264"/>
                    <a:gd name="T22" fmla="*/ 192 w 204"/>
                    <a:gd name="T23" fmla="*/ 69 h 264"/>
                    <a:gd name="T24" fmla="*/ 136 w 204"/>
                    <a:gd name="T25" fmla="*/ 12 h 264"/>
                    <a:gd name="T26" fmla="*/ 12 w 204"/>
                    <a:gd name="T27" fmla="*/ 12 h 264"/>
                    <a:gd name="T28" fmla="*/ 12 w 204"/>
                    <a:gd name="T29" fmla="*/ 252 h 264"/>
                    <a:gd name="T30" fmla="*/ 132 w 204"/>
                    <a:gd name="T31" fmla="*/ 252 h 264"/>
                    <a:gd name="T32" fmla="*/ 132 w 204"/>
                    <a:gd name="T33" fmla="*/ 264 h 26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204" h="264">
                      <a:moveTo>
                        <a:pt x="132" y="264"/>
                      </a:moveTo>
                      <a:cubicBezTo>
                        <a:pt x="6" y="264"/>
                        <a:pt x="6" y="264"/>
                        <a:pt x="6" y="264"/>
                      </a:cubicBezTo>
                      <a:cubicBezTo>
                        <a:pt x="3" y="264"/>
                        <a:pt x="0" y="261"/>
                        <a:pt x="0" y="258"/>
                      </a:cubicBezTo>
                      <a:cubicBezTo>
                        <a:pt x="0" y="6"/>
                        <a:pt x="0" y="6"/>
                        <a:pt x="0" y="6"/>
                      </a:cubicBezTo>
                      <a:cubicBezTo>
                        <a:pt x="0" y="3"/>
                        <a:pt x="3" y="0"/>
                        <a:pt x="6" y="0"/>
                      </a:cubicBezTo>
                      <a:cubicBezTo>
                        <a:pt x="138" y="0"/>
                        <a:pt x="138" y="0"/>
                        <a:pt x="138" y="0"/>
                      </a:cubicBezTo>
                      <a:cubicBezTo>
                        <a:pt x="140" y="0"/>
                        <a:pt x="142" y="1"/>
                        <a:pt x="143" y="2"/>
                      </a:cubicBezTo>
                      <a:cubicBezTo>
                        <a:pt x="203" y="62"/>
                        <a:pt x="203" y="62"/>
                        <a:pt x="203" y="62"/>
                      </a:cubicBezTo>
                      <a:cubicBezTo>
                        <a:pt x="204" y="63"/>
                        <a:pt x="204" y="64"/>
                        <a:pt x="204" y="66"/>
                      </a:cubicBezTo>
                      <a:cubicBezTo>
                        <a:pt x="204" y="144"/>
                        <a:pt x="204" y="144"/>
                        <a:pt x="204" y="144"/>
                      </a:cubicBezTo>
                      <a:cubicBezTo>
                        <a:pt x="192" y="144"/>
                        <a:pt x="192" y="144"/>
                        <a:pt x="192" y="144"/>
                      </a:cubicBezTo>
                      <a:cubicBezTo>
                        <a:pt x="192" y="69"/>
                        <a:pt x="192" y="69"/>
                        <a:pt x="192" y="69"/>
                      </a:cubicBezTo>
                      <a:cubicBezTo>
                        <a:pt x="136" y="12"/>
                        <a:pt x="136" y="12"/>
                        <a:pt x="136" y="12"/>
                      </a:cubicBezTo>
                      <a:cubicBezTo>
                        <a:pt x="12" y="12"/>
                        <a:pt x="12" y="12"/>
                        <a:pt x="12" y="12"/>
                      </a:cubicBezTo>
                      <a:cubicBezTo>
                        <a:pt x="12" y="252"/>
                        <a:pt x="12" y="252"/>
                        <a:pt x="12" y="252"/>
                      </a:cubicBezTo>
                      <a:cubicBezTo>
                        <a:pt x="132" y="252"/>
                        <a:pt x="132" y="252"/>
                        <a:pt x="132" y="252"/>
                      </a:cubicBezTo>
                      <a:lnTo>
                        <a:pt x="132" y="264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AU"/>
                </a:p>
              </p:txBody>
            </p:sp>
            <p:sp>
              <p:nvSpPr>
                <p:cNvPr id="60" name="Freeform 48">
                  <a:extLst>
                    <a:ext uri="{FF2B5EF4-FFF2-40B4-BE49-F238E27FC236}">
                      <a16:creationId xmlns:a16="http://schemas.microsoft.com/office/drawing/2014/main" id="{6598E8AE-3D1E-4774-B3BC-F32D67D07BF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633" y="446"/>
                  <a:ext cx="107" cy="107"/>
                </a:xfrm>
                <a:custGeom>
                  <a:avLst/>
                  <a:gdLst>
                    <a:gd name="T0" fmla="*/ 66 w 72"/>
                    <a:gd name="T1" fmla="*/ 72 h 72"/>
                    <a:gd name="T2" fmla="*/ 6 w 72"/>
                    <a:gd name="T3" fmla="*/ 72 h 72"/>
                    <a:gd name="T4" fmla="*/ 0 w 72"/>
                    <a:gd name="T5" fmla="*/ 66 h 72"/>
                    <a:gd name="T6" fmla="*/ 0 w 72"/>
                    <a:gd name="T7" fmla="*/ 6 h 72"/>
                    <a:gd name="T8" fmla="*/ 6 w 72"/>
                    <a:gd name="T9" fmla="*/ 0 h 72"/>
                    <a:gd name="T10" fmla="*/ 12 w 72"/>
                    <a:gd name="T11" fmla="*/ 6 h 72"/>
                    <a:gd name="T12" fmla="*/ 12 w 72"/>
                    <a:gd name="T13" fmla="*/ 60 h 72"/>
                    <a:gd name="T14" fmla="*/ 66 w 72"/>
                    <a:gd name="T15" fmla="*/ 60 h 72"/>
                    <a:gd name="T16" fmla="*/ 72 w 72"/>
                    <a:gd name="T17" fmla="*/ 66 h 72"/>
                    <a:gd name="T18" fmla="*/ 66 w 72"/>
                    <a:gd name="T19" fmla="*/ 72 h 7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72" h="72">
                      <a:moveTo>
                        <a:pt x="66" y="72"/>
                      </a:moveTo>
                      <a:cubicBezTo>
                        <a:pt x="6" y="72"/>
                        <a:pt x="6" y="72"/>
                        <a:pt x="6" y="72"/>
                      </a:cubicBezTo>
                      <a:cubicBezTo>
                        <a:pt x="3" y="72"/>
                        <a:pt x="0" y="69"/>
                        <a:pt x="0" y="66"/>
                      </a:cubicBezTo>
                      <a:cubicBezTo>
                        <a:pt x="0" y="6"/>
                        <a:pt x="0" y="6"/>
                        <a:pt x="0" y="6"/>
                      </a:cubicBezTo>
                      <a:cubicBezTo>
                        <a:pt x="0" y="3"/>
                        <a:pt x="3" y="0"/>
                        <a:pt x="6" y="0"/>
                      </a:cubicBezTo>
                      <a:cubicBezTo>
                        <a:pt x="10" y="0"/>
                        <a:pt x="12" y="3"/>
                        <a:pt x="12" y="6"/>
                      </a:cubicBezTo>
                      <a:cubicBezTo>
                        <a:pt x="12" y="60"/>
                        <a:pt x="12" y="60"/>
                        <a:pt x="12" y="60"/>
                      </a:cubicBezTo>
                      <a:cubicBezTo>
                        <a:pt x="66" y="60"/>
                        <a:pt x="66" y="60"/>
                        <a:pt x="66" y="60"/>
                      </a:cubicBezTo>
                      <a:cubicBezTo>
                        <a:pt x="70" y="60"/>
                        <a:pt x="72" y="63"/>
                        <a:pt x="72" y="66"/>
                      </a:cubicBezTo>
                      <a:cubicBezTo>
                        <a:pt x="72" y="69"/>
                        <a:pt x="70" y="72"/>
                        <a:pt x="66" y="7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AU"/>
                </a:p>
              </p:txBody>
            </p:sp>
          </p:grpSp>
        </p:grpSp>
      </p:grpSp>
    </p:spTree>
    <p:extLst>
      <p:ext uri="{BB962C8B-B14F-4D97-AF65-F5344CB8AC3E}">
        <p14:creationId xmlns:p14="http://schemas.microsoft.com/office/powerpoint/2010/main" val="34174171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40A10D55-92B5-469B-B0AA-75EA91D9A2B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11"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40A10D55-92B5-469B-B0AA-75EA91D9A2B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93544CB-F0B9-4434-B5CC-12F00291035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5384" y="301752"/>
            <a:ext cx="8980372" cy="660774"/>
          </a:xfrm>
        </p:spPr>
        <p:txBody>
          <a:bodyPr/>
          <a:lstStyle/>
          <a:p>
            <a:r>
              <a:rPr lang="de-DE"/>
              <a:t>agenda</a:t>
            </a:r>
            <a:endParaRPr lang="de-DE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8509EEA2-55D0-426F-B0FC-F77471B0BBD9}"/>
              </a:ext>
            </a:extLst>
          </p:cNvPr>
          <p:cNvSpPr txBox="1">
            <a:spLocks/>
          </p:cNvSpPr>
          <p:nvPr/>
        </p:nvSpPr>
        <p:spPr>
          <a:xfrm>
            <a:off x="368300" y="1285785"/>
            <a:ext cx="11351296" cy="4286430"/>
          </a:xfrm>
          <a:prstGeom prst="rect">
            <a:avLst/>
          </a:prstGeom>
        </p:spPr>
        <p:txBody>
          <a:bodyPr anchor="ctr"/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6858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9144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1430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312863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484313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65735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882775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463645" lvl="5" indent="-285750">
              <a:spcAft>
                <a:spcPts val="1800"/>
              </a:spcAft>
              <a:buFont typeface="Arial" panose="020B0604020202020204" pitchFamily="34" charset="0"/>
              <a:buChar char="█"/>
            </a:pPr>
            <a:r>
              <a:rPr lang="de-DE" dirty="0" err="1">
                <a:latin typeface="Arial" panose="020B0604020202020204" pitchFamily="34" charset="0"/>
                <a:cs typeface="Arial" panose="020B0604020202020204" pitchFamily="34" charset="0"/>
              </a:rPr>
              <a:t>Recap</a:t>
            </a: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463645" lvl="5" indent="-285750">
              <a:spcAft>
                <a:spcPts val="1800"/>
              </a:spcAft>
              <a:buFont typeface="Arial" panose="020B0604020202020204" pitchFamily="34" charset="0"/>
              <a:buChar char="█"/>
            </a:pPr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Achievements</a:t>
            </a:r>
          </a:p>
          <a:p>
            <a:pPr marL="1463645" lvl="5" indent="-285750">
              <a:spcAft>
                <a:spcPts val="1800"/>
              </a:spcAft>
              <a:buFont typeface="Arial" panose="020B0604020202020204" pitchFamily="34" charset="0"/>
              <a:buChar char="█"/>
            </a:pPr>
            <a:r>
              <a:rPr lang="de-DE" b="1" dirty="0">
                <a:latin typeface="Arial" panose="020B0604020202020204" pitchFamily="34" charset="0"/>
                <a:cs typeface="Arial" panose="020B0604020202020204" pitchFamily="34" charset="0"/>
              </a:rPr>
              <a:t>Abweichungen von Ausgangskonzeption</a:t>
            </a:r>
          </a:p>
          <a:p>
            <a:pPr marL="1463645" lvl="5" indent="-285750">
              <a:spcAft>
                <a:spcPts val="1800"/>
              </a:spcAft>
              <a:buFont typeface="Arial" panose="020B0604020202020204" pitchFamily="34" charset="0"/>
              <a:buChar char="█"/>
            </a:pPr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Live Präsentation</a:t>
            </a:r>
          </a:p>
          <a:p>
            <a:pPr marL="1463645" lvl="5" indent="-285750">
              <a:spcAft>
                <a:spcPts val="1800"/>
              </a:spcAft>
              <a:buFont typeface="Arial" panose="020B0604020202020204" pitchFamily="34" charset="0"/>
              <a:buChar char="█"/>
            </a:pPr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Ausblick</a:t>
            </a:r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784CCE96-990E-40E5-9925-F6252FC604A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75384" y="6556247"/>
            <a:ext cx="6862233" cy="229563"/>
          </a:xfrm>
          <a:prstGeom prst="rect">
            <a:avLst/>
          </a:prstGeom>
        </p:spPr>
        <p:txBody>
          <a:bodyPr/>
          <a:lstStyle/>
          <a:p>
            <a:r>
              <a:rPr lang="en-US" sz="900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pyright © 2019 dual study fit. All rights reserved. </a:t>
            </a:r>
            <a:endParaRPr lang="de-DE" sz="900" dirty="0">
              <a:solidFill>
                <a:schemeClr val="bg1">
                  <a:lumMod val="6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2BF1A655-3D4E-43D7-A112-7B5531E5FED7}"/>
              </a:ext>
            </a:extLst>
          </p:cNvPr>
          <p:cNvSpPr/>
          <p:nvPr/>
        </p:nvSpPr>
        <p:spPr bwMode="auto">
          <a:xfrm>
            <a:off x="1559496" y="3176972"/>
            <a:ext cx="6031497" cy="504056"/>
          </a:xfrm>
          <a:prstGeom prst="rect">
            <a:avLst/>
          </a:prstGeom>
          <a:noFill/>
          <a:ln w="28575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1042988" rtl="0" eaLnBrk="1" fontAlgn="base" latinLnBrk="0" hangingPunct="1">
              <a:lnSpc>
                <a:spcPct val="11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5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87634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7037&quot;&gt;&lt;version val=&quot;28123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.%m.%Y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4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0D9xYQBbBMe9bRNybeA8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VpnEXomRBvoLOQq9XA4q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vMwCiP7rWHT1ZiKH17bb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7EzdUGmIglN751l2sE5X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3TT58pm8Td9elQK6i6z4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Ah2xXSfqFI4lHW8.WnxF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KvIo_yRpr53V9mDUtb0i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_6BZbSF7OnugDuOAbSiF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usUqWQD3D2W_BXD.jjyB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B1uqouP8UTseVGWEhYKS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Rm5NeJZQCDp.S3u2WukJ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_XdeqDey2yBs.EGRsL84w"/>
</p:tagLst>
</file>

<file path=ppt/theme/theme1.xml><?xml version="1.0" encoding="utf-8"?>
<a:theme xmlns:a="http://schemas.openxmlformats.org/drawingml/2006/main" name="Paket">
  <a:themeElements>
    <a:clrScheme name="Parcel">
      <a:dk1>
        <a:srgbClr val="000000"/>
      </a:dk1>
      <a:lt1>
        <a:srgbClr val="FFFFFF"/>
      </a:lt1>
      <a:dk2>
        <a:srgbClr val="4A5356"/>
      </a:dk2>
      <a:lt2>
        <a:srgbClr val="E8E3CE"/>
      </a:lt2>
      <a:accent1>
        <a:srgbClr val="F6A21D"/>
      </a:accent1>
      <a:accent2>
        <a:srgbClr val="9BAFB5"/>
      </a:accent2>
      <a:accent3>
        <a:srgbClr val="C96731"/>
      </a:accent3>
      <a:accent4>
        <a:srgbClr val="9CA383"/>
      </a:accent4>
      <a:accent5>
        <a:srgbClr val="87795D"/>
      </a:accent5>
      <a:accent6>
        <a:srgbClr val="A0988C"/>
      </a:accent6>
      <a:hlink>
        <a:srgbClr val="00B0F0"/>
      </a:hlink>
      <a:folHlink>
        <a:srgbClr val="738F97"/>
      </a:folHlink>
    </a:clrScheme>
    <a:fontScheme name="Parcel">
      <a:majorFont>
        <a:latin typeface="Gill Sans MT" panose="020B0502020104020203"/>
        <a:ea typeface=""/>
        <a:cs typeface=""/>
        <a:font script="Grek" typeface="Corbel"/>
        <a:font script="Cyrl" typeface="Corbel"/>
        <a:font script="Jpan" typeface="HGｺﾞｼｯｸE"/>
        <a:font script="Hang" typeface="휴먼매직체"/>
        <a:font script="Hans" typeface="华文中宋"/>
        <a:font script="Hant" typeface="微軟正黑體"/>
        <a:font script="Arab" typeface="Majalla UI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Gill Sans MT" panose="020B0502020104020203"/>
        <a:ea typeface=""/>
        <a:cs typeface=""/>
        <a:font script="Grek" typeface="Corbel"/>
        <a:font script="Cyrl" typeface="Corbel"/>
        <a:font script="Jpan" typeface="HGｺﾞｼｯｸE"/>
        <a:font script="Hang" typeface="휴먼매직체"/>
        <a:font script="Hans" typeface="华文中宋"/>
        <a:font script="Hant" typeface="微軟正黑體"/>
        <a:font script="Arab" typeface="Majalla UI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Parcel">
      <a:fillStyleLst>
        <a:solidFill>
          <a:schemeClr val="phClr"/>
        </a:solidFill>
        <a:gradFill rotWithShape="1">
          <a:gsLst>
            <a:gs pos="0">
              <a:schemeClr val="phClr">
                <a:tint val="80000"/>
                <a:satMod val="107000"/>
                <a:lumMod val="103000"/>
              </a:schemeClr>
            </a:gs>
            <a:gs pos="100000">
              <a:schemeClr val="phClr">
                <a:tint val="82000"/>
                <a:satMod val="109000"/>
                <a:lumMod val="103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7000"/>
                <a:satMod val="100000"/>
                <a:lumMod val="102000"/>
              </a:schemeClr>
            </a:gs>
            <a:gs pos="50000">
              <a:schemeClr val="phClr">
                <a:shade val="100000"/>
                <a:satMod val="103000"/>
                <a:lumMod val="100000"/>
              </a:schemeClr>
            </a:gs>
            <a:gs pos="100000">
              <a:schemeClr val="phClr">
                <a:shade val="93000"/>
                <a:satMod val="110000"/>
                <a:lumMod val="99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</a:ln>
        <a:ln w="12700" cap="flat" cmpd="sng" algn="ctr">
          <a:solidFill>
            <a:schemeClr val="phClr"/>
          </a:solidFill>
          <a:prstDash val="solid"/>
        </a:ln>
        <a:ln w="3175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5880" dist="1524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brightRoom" dir="tl"/>
          </a:scene3d>
          <a:sp3d prstMaterial="dkEdge">
            <a:bevelT w="0" h="0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7000"/>
                <a:shade val="100000"/>
                <a:satMod val="185000"/>
                <a:lumMod val="120000"/>
              </a:schemeClr>
            </a:gs>
            <a:gs pos="100000">
              <a:schemeClr val="phClr">
                <a:tint val="96000"/>
                <a:shade val="95000"/>
                <a:satMod val="215000"/>
                <a:lumMod val="80000"/>
              </a:schemeClr>
            </a:gs>
          </a:gsLst>
          <a:path path="circle">
            <a:fillToRect l="50000" t="55000" r="125000" b="10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arcel" id="{8BEC4385-4EB9-4D53-BFB5-0EA123736B6D}" vid="{4DB32801-28C0-48B0-8C1D-A9A58613615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Paket</Template>
  <TotalTime>1272</TotalTime>
  <Words>490</Words>
  <Application>Microsoft Macintosh PowerPoint</Application>
  <PresentationFormat>Widescreen</PresentationFormat>
  <Paragraphs>148</Paragraphs>
  <Slides>17</Slides>
  <Notes>8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7</vt:i4>
      </vt:variant>
    </vt:vector>
  </HeadingPairs>
  <TitlesOfParts>
    <vt:vector size="25" baseType="lpstr">
      <vt:lpstr>Arial</vt:lpstr>
      <vt:lpstr>Arial </vt:lpstr>
      <vt:lpstr>Arial Black</vt:lpstr>
      <vt:lpstr>Calibri</vt:lpstr>
      <vt:lpstr>Gill Sans MT</vt:lpstr>
      <vt:lpstr>Wingdings</vt:lpstr>
      <vt:lpstr>Paket</vt:lpstr>
      <vt:lpstr>think-cell Slide</vt:lpstr>
      <vt:lpstr>dual study fit</vt:lpstr>
      <vt:lpstr>agenda</vt:lpstr>
      <vt:lpstr>agenda</vt:lpstr>
      <vt:lpstr>Geschäftsidee</vt:lpstr>
      <vt:lpstr>Geschäftsidee</vt:lpstr>
      <vt:lpstr>Market Validation</vt:lpstr>
      <vt:lpstr>agenda</vt:lpstr>
      <vt:lpstr>Achievements</vt:lpstr>
      <vt:lpstr>agenda</vt:lpstr>
      <vt:lpstr>Abweichungen von Ausgangskonzeption</vt:lpstr>
      <vt:lpstr>agenda</vt:lpstr>
      <vt:lpstr>agenda</vt:lpstr>
      <vt:lpstr>Ausblick</vt:lpstr>
      <vt:lpstr>Competitive Advantages</vt:lpstr>
      <vt:lpstr>Vielen Dank!</vt:lpstr>
      <vt:lpstr>Appendix</vt:lpstr>
      <vt:lpstr>Customer Journey - Summary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ual Study Fit</dc:title>
  <dc:creator>Msoffice20829</dc:creator>
  <cp:lastModifiedBy>Jonas Radtke</cp:lastModifiedBy>
  <cp:revision>124</cp:revision>
  <dcterms:created xsi:type="dcterms:W3CDTF">2019-11-10T16:11:13Z</dcterms:created>
  <dcterms:modified xsi:type="dcterms:W3CDTF">2019-12-06T08:45:39Z</dcterms:modified>
</cp:coreProperties>
</file>